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5"/>
  </p:notesMasterIdLst>
  <p:sldIdLst>
    <p:sldId id="297" r:id="rId2"/>
    <p:sldId id="349" r:id="rId3"/>
    <p:sldId id="394" r:id="rId4"/>
    <p:sldId id="395" r:id="rId5"/>
    <p:sldId id="582" r:id="rId6"/>
    <p:sldId id="397" r:id="rId7"/>
    <p:sldId id="447" r:id="rId8"/>
    <p:sldId id="400" r:id="rId9"/>
    <p:sldId id="299" r:id="rId10"/>
    <p:sldId id="350" r:id="rId11"/>
    <p:sldId id="383" r:id="rId12"/>
    <p:sldId id="384" r:id="rId13"/>
    <p:sldId id="385" r:id="rId14"/>
    <p:sldId id="387" r:id="rId15"/>
    <p:sldId id="388" r:id="rId16"/>
    <p:sldId id="389" r:id="rId17"/>
    <p:sldId id="391" r:id="rId18"/>
    <p:sldId id="390" r:id="rId19"/>
    <p:sldId id="448" r:id="rId20"/>
    <p:sldId id="449" r:id="rId21"/>
    <p:sldId id="405" r:id="rId22"/>
    <p:sldId id="386" r:id="rId23"/>
    <p:sldId id="414" r:id="rId24"/>
    <p:sldId id="451" r:id="rId25"/>
    <p:sldId id="415" r:id="rId26"/>
    <p:sldId id="416" r:id="rId27"/>
    <p:sldId id="274" r:id="rId28"/>
    <p:sldId id="356" r:id="rId29"/>
    <p:sldId id="296" r:id="rId30"/>
    <p:sldId id="583" r:id="rId31"/>
    <p:sldId id="298" r:id="rId32"/>
    <p:sldId id="369" r:id="rId33"/>
    <p:sldId id="358" r:id="rId34"/>
    <p:sldId id="368" r:id="rId35"/>
    <p:sldId id="301" r:id="rId36"/>
    <p:sldId id="357" r:id="rId37"/>
    <p:sldId id="307" r:id="rId38"/>
    <p:sldId id="308" r:id="rId39"/>
    <p:sldId id="309" r:id="rId40"/>
    <p:sldId id="310" r:id="rId41"/>
    <p:sldId id="365" r:id="rId42"/>
    <p:sldId id="417" r:id="rId43"/>
    <p:sldId id="419" r:id="rId44"/>
    <p:sldId id="422" r:id="rId45"/>
    <p:sldId id="428" r:id="rId46"/>
    <p:sldId id="429" r:id="rId47"/>
    <p:sldId id="453" r:id="rId48"/>
    <p:sldId id="432" r:id="rId49"/>
    <p:sldId id="438" r:id="rId50"/>
    <p:sldId id="454" r:id="rId51"/>
    <p:sldId id="459" r:id="rId52"/>
    <p:sldId id="457" r:id="rId53"/>
    <p:sldId id="461" r:id="rId5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32" autoAdjust="0"/>
    <p:restoredTop sz="94162" autoAdjust="0"/>
  </p:normalViewPr>
  <p:slideViewPr>
    <p:cSldViewPr snapToGrid="0">
      <p:cViewPr varScale="1">
        <p:scale>
          <a:sx n="157" d="100"/>
          <a:sy n="157" d="100"/>
        </p:scale>
        <p:origin x="1736" y="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4/3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3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es NOT check for co-linear variables</a:t>
            </a:r>
          </a:p>
          <a:p>
            <a:r>
              <a:rPr lang="en-US" dirty="0"/>
              <a:t>Does not perform outlier suppression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nternal Purposes Only – Not to Be Distribute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3A11036-11C8-453C-818D-B090064BB0AA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3950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4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1A90D603-3AC1-4957-9F06-296EB9CD5782}" type="slidenum">
              <a:rPr lang="en-US" altLang="en-US" smtClean="0">
                <a:solidFill>
                  <a:prstClr val="black"/>
                </a:solidFill>
              </a:rPr>
              <a:pPr>
                <a:defRPr/>
              </a:pPr>
              <a:t>27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0931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BAFA76-1384-43C2-9507-EC1C247A9061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26753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4/3/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4/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4/3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3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4/3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4/3/23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4/3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4/3/23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4/3/23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4/3/23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4/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00.pn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2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gif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50.png"/><Relationship Id="rId4" Type="http://schemas.openxmlformats.org/officeDocument/2006/relationships/image" Target="../media/image37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4/3/23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02990A0-6B47-7289-78AF-BA9B87C35D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D0B41523-98F7-B0F1-E4F5-D7B20E509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2C038C8-166E-F574-B47B-C88E121D8A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8B10EB9-B815-3147-4C78-0A774B8003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AB45063-6F42-D778-8B90-65A0819B04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B1EA537C-C425-A014-9F3E-C261687F22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B6477B5-829B-B277-C153-08F874ED0D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DE397B81-A840-07BF-F056-8AF48B83FC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6FE8A72-FC36-2C17-E548-8CF5F4E73E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002560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6C4699AA-68E6-96AD-DB0A-440CE11BD9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63426E5C-9379-D1C0-BCA3-0934A40D29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201177"/>
              </p:ext>
            </p:extLst>
          </p:nvPr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D7EC099-E780-95C7-5668-F7609A9B34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9EF99F9-0749-01B4-3289-129CBABF83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F6C64F35-9B02-8D43-ADC7-4B85B8935A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How does truecar.com know the price is “great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4D77140-3EE8-CBD1-8D91-4CA78A933E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eah!  I got a new job!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5A2C4C6-818C-DA48-97D2-8650FCDB87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le, 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Welcome Dale to </a:t>
            </a:r>
            <a:r>
              <a:rPr lang="en-US" dirty="0" err="1"/>
              <a:t>TrueCar’s</a:t>
            </a:r>
            <a:r>
              <a:rPr lang="en-US" dirty="0"/>
              <a:t> Competitor: </a:t>
            </a:r>
            <a:r>
              <a:rPr lang="en-US" dirty="0" err="1"/>
              <a:t>OldCar</a:t>
            </a:r>
            <a:endParaRPr lang="en-US" dirty="0"/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171E6112-765D-D6C5-22BD-9BC5D3FE4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help Dale again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t of course.  This sounds like a predictive modeling project.  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3AA009D2-F2C8-3700-B7A3-8E4EDA1C1F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4769780" y="3163528"/>
            <a:ext cx="38576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Data Processing: cleanup, dimension reduction, feature engineering &amp; feature enrichment</a:t>
            </a:r>
          </a:p>
        </p:txBody>
      </p:sp>
      <p:sp>
        <p:nvSpPr>
          <p:cNvPr id="8194" name="Title 1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pPr eaLnBrk="1" hangingPunct="1"/>
            <a:r>
              <a:rPr lang="en-US" altLang="en-US" sz="3600" dirty="0"/>
              <a:t>Modeling Process</a:t>
            </a:r>
          </a:p>
        </p:txBody>
      </p:sp>
      <p:sp>
        <p:nvSpPr>
          <p:cNvPr id="8195" name="Content Placeholder 2"/>
          <p:cNvSpPr>
            <a:spLocks noGrp="1"/>
          </p:cNvSpPr>
          <p:nvPr>
            <p:ph sz="quarter" idx="1"/>
          </p:nvPr>
        </p:nvSpPr>
        <p:spPr>
          <a:xfrm>
            <a:off x="528637" y="1266818"/>
            <a:ext cx="3829050" cy="433388"/>
          </a:xfrm>
          <a:solidFill>
            <a:schemeClr val="accent2"/>
          </a:solidFill>
        </p:spPr>
        <p:txBody>
          <a:bodyPr>
            <a:normAutofit lnSpcReduction="10000"/>
          </a:bodyPr>
          <a:lstStyle/>
          <a:p>
            <a:pPr marL="0" indent="0" eaLnBrk="1" hangingPunct="1">
              <a:buNone/>
            </a:pPr>
            <a:r>
              <a:rPr lang="en-US" altLang="en-US" sz="2800" dirty="0">
                <a:solidFill>
                  <a:schemeClr val="bg1"/>
                </a:solidFill>
                <a:latin typeface="Franklin Gothic Book" pitchFamily="34" charset="0"/>
              </a:rPr>
              <a:t>SEMMA (from SAS)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FCA8A2A-BA2A-4F59-BDF1-B1C7549B90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3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67524C8B-E040-46C3-90CB-4F7DAB9FD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14</a:t>
            </a:r>
          </a:p>
        </p:txBody>
      </p:sp>
      <p:sp>
        <p:nvSpPr>
          <p:cNvPr id="3" name="Pentagon 2"/>
          <p:cNvSpPr/>
          <p:nvPr/>
        </p:nvSpPr>
        <p:spPr>
          <a:xfrm>
            <a:off x="514342" y="1871659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1. Sample</a:t>
            </a:r>
          </a:p>
        </p:txBody>
      </p:sp>
      <p:sp>
        <p:nvSpPr>
          <p:cNvPr id="9" name="Pentagon 8"/>
          <p:cNvSpPr/>
          <p:nvPr/>
        </p:nvSpPr>
        <p:spPr>
          <a:xfrm>
            <a:off x="514342" y="2509834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2. Explore</a:t>
            </a:r>
          </a:p>
        </p:txBody>
      </p:sp>
      <p:sp>
        <p:nvSpPr>
          <p:cNvPr id="10" name="Pentagon 9"/>
          <p:cNvSpPr/>
          <p:nvPr/>
        </p:nvSpPr>
        <p:spPr>
          <a:xfrm>
            <a:off x="514342" y="3148009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3. Modify</a:t>
            </a:r>
          </a:p>
        </p:txBody>
      </p:sp>
      <p:sp>
        <p:nvSpPr>
          <p:cNvPr id="11" name="Pentagon 10"/>
          <p:cNvSpPr/>
          <p:nvPr/>
        </p:nvSpPr>
        <p:spPr>
          <a:xfrm>
            <a:off x="514342" y="3786184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4. Model</a:t>
            </a:r>
          </a:p>
        </p:txBody>
      </p:sp>
      <p:sp>
        <p:nvSpPr>
          <p:cNvPr id="12" name="Pentagon 11"/>
          <p:cNvSpPr/>
          <p:nvPr/>
        </p:nvSpPr>
        <p:spPr>
          <a:xfrm>
            <a:off x="514342" y="4424359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5. Assess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786381" y="2414585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4769780" y="2452686"/>
            <a:ext cx="38193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As part of your analysis you perform basic exploratory data analysis (EDA)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786381" y="3109911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786381" y="3752849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4786381" y="4410075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4769780" y="1809750"/>
            <a:ext cx="38193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In this course, most data sets are curated for you, but partitioning is done to avoid overfitting.</a:t>
            </a: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4667249" y="1262056"/>
            <a:ext cx="3829050" cy="433388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en-US" sz="2800" dirty="0">
                <a:solidFill>
                  <a:prstClr val="white"/>
                </a:solidFill>
                <a:latin typeface="Franklin Gothic Book" pitchFamily="34" charset="0"/>
              </a:rPr>
              <a:t>In this course…</a:t>
            </a:r>
          </a:p>
        </p:txBody>
      </p:sp>
      <p:sp>
        <p:nvSpPr>
          <p:cNvPr id="23" name="Footer Placeholder 5">
            <a:extLst>
              <a:ext uri="{FF2B5EF4-FFF2-40B4-BE49-F238E27FC236}">
                <a16:creationId xmlns:a16="http://schemas.microsoft.com/office/drawing/2014/main" id="{FCA49CEF-ACAC-FE4E-922F-E081DB42EE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93FA6C-EA8C-0585-520C-1BD12972CD81}"/>
              </a:ext>
            </a:extLst>
          </p:cNvPr>
          <p:cNvSpPr txBox="1"/>
          <p:nvPr/>
        </p:nvSpPr>
        <p:spPr>
          <a:xfrm>
            <a:off x="4772035" y="3761444"/>
            <a:ext cx="38576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You will learn regression, logistic regression, decision tree and random forest.  You are expected to try all that are appropriate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87D26BB-AE62-0519-8D71-3D9D1EFB7C0D}"/>
              </a:ext>
            </a:extLst>
          </p:cNvPr>
          <p:cNvSpPr txBox="1"/>
          <p:nvPr/>
        </p:nvSpPr>
        <p:spPr>
          <a:xfrm>
            <a:off x="4714943" y="4579252"/>
            <a:ext cx="38576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Many KPI, but in this intro class we will use Accuracy for classification and RMSE, MAPE for regress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6BF91AF-4F80-D4F7-2F6D-07C8D0EE6BA8}"/>
              </a:ext>
            </a:extLst>
          </p:cNvPr>
          <p:cNvSpPr/>
          <p:nvPr/>
        </p:nvSpPr>
        <p:spPr>
          <a:xfrm>
            <a:off x="4818151" y="3170468"/>
            <a:ext cx="3678148" cy="5142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e will just use library(</a:t>
            </a:r>
            <a:r>
              <a:rPr lang="en-US" dirty="0" err="1"/>
              <a:t>vtreat</a:t>
            </a:r>
            <a:r>
              <a:rPr lang="en-US" dirty="0"/>
              <a:t>) for variable treatment</a:t>
            </a:r>
          </a:p>
        </p:txBody>
      </p:sp>
    </p:spTree>
    <p:extLst>
      <p:ext uri="{BB962C8B-B14F-4D97-AF65-F5344CB8AC3E}">
        <p14:creationId xmlns:p14="http://schemas.microsoft.com/office/powerpoint/2010/main" val="3618972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3ED0B2-08F3-49C5-A308-8FFE3F73F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Treatment: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library(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vtreat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C96F04-31FB-4BD3-AB03-52519688B62F}"/>
              </a:ext>
            </a:extLst>
          </p:cNvPr>
          <p:cNvSpPr txBox="1"/>
          <p:nvPr/>
        </p:nvSpPr>
        <p:spPr>
          <a:xfrm>
            <a:off x="335472" y="6059573"/>
            <a:ext cx="2656806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Organize Informative Data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2AFD3111-0707-4032-AF28-502B9E3959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472" y="5672010"/>
            <a:ext cx="2656806" cy="23747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1</a:t>
            </a: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075E59DA-02BA-45C7-9A23-360111548E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6316" y="4646571"/>
            <a:ext cx="2656806" cy="23747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2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AD2D8712-DCBE-4647-A81D-43F88529C648}"/>
              </a:ext>
            </a:extLst>
          </p:cNvPr>
          <p:cNvSpPr>
            <a:spLocks/>
          </p:cNvSpPr>
          <p:nvPr/>
        </p:nvSpPr>
        <p:spPr bwMode="auto">
          <a:xfrm>
            <a:off x="217710" y="3472048"/>
            <a:ext cx="8404313" cy="3088409"/>
          </a:xfrm>
          <a:custGeom>
            <a:avLst/>
            <a:gdLst>
              <a:gd name="T0" fmla="*/ 0 w 5281"/>
              <a:gd name="T1" fmla="*/ 2147483647 h 1635"/>
              <a:gd name="T2" fmla="*/ 0 w 5281"/>
              <a:gd name="T3" fmla="*/ 2147483647 h 1635"/>
              <a:gd name="T4" fmla="*/ 2147483647 w 5281"/>
              <a:gd name="T5" fmla="*/ 2147483647 h 1635"/>
              <a:gd name="T6" fmla="*/ 2147483647 w 5281"/>
              <a:gd name="T7" fmla="*/ 2147483647 h 1635"/>
              <a:gd name="T8" fmla="*/ 2147483647 w 5281"/>
              <a:gd name="T9" fmla="*/ 2147483647 h 1635"/>
              <a:gd name="T10" fmla="*/ 2147483647 w 5281"/>
              <a:gd name="T11" fmla="*/ 0 h 1635"/>
              <a:gd name="T12" fmla="*/ 2147483647 w 5281"/>
              <a:gd name="T13" fmla="*/ 0 h 163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281"/>
              <a:gd name="T22" fmla="*/ 0 h 1635"/>
              <a:gd name="T23" fmla="*/ 5281 w 5281"/>
              <a:gd name="T24" fmla="*/ 1635 h 163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281" h="1635">
                <a:moveTo>
                  <a:pt x="0" y="1634"/>
                </a:moveTo>
                <a:lnTo>
                  <a:pt x="0" y="1089"/>
                </a:lnTo>
                <a:lnTo>
                  <a:pt x="1760" y="1089"/>
                </a:lnTo>
                <a:lnTo>
                  <a:pt x="1760" y="544"/>
                </a:lnTo>
                <a:lnTo>
                  <a:pt x="3520" y="544"/>
                </a:lnTo>
                <a:lnTo>
                  <a:pt x="3520" y="0"/>
                </a:lnTo>
                <a:lnTo>
                  <a:pt x="5280" y="0"/>
                </a:lnTo>
              </a:path>
            </a:pathLst>
          </a:custGeom>
          <a:noFill/>
          <a:ln w="9525" cap="rnd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 defTabSz="685800">
              <a:defRPr/>
            </a:pPr>
            <a:endParaRPr lang="en-US" sz="1350" kern="0" dirty="0">
              <a:solidFill>
                <a:prstClr val="black"/>
              </a:solidFill>
            </a:endParaRPr>
          </a:p>
        </p:txBody>
      </p:sp>
      <p:sp>
        <p:nvSpPr>
          <p:cNvPr id="16" name="Text Box 6">
            <a:extLst>
              <a:ext uri="{FF2B5EF4-FFF2-40B4-BE49-F238E27FC236}">
                <a16:creationId xmlns:a16="http://schemas.microsoft.com/office/drawing/2014/main" id="{1A07897B-57C8-4C39-AADB-282A244123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4539" y="3592925"/>
            <a:ext cx="2656806" cy="23747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CE10A04-B818-4A76-B304-B20DAA4838F5}"/>
              </a:ext>
            </a:extLst>
          </p:cNvPr>
          <p:cNvSpPr txBox="1"/>
          <p:nvPr/>
        </p:nvSpPr>
        <p:spPr>
          <a:xfrm>
            <a:off x="3136316" y="5025721"/>
            <a:ext cx="2656806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“</a:t>
            </a:r>
            <a:r>
              <a:rPr lang="en-US" sz="825" b="1" i="1" kern="0" dirty="0">
                <a:solidFill>
                  <a:srgbClr val="313131"/>
                </a:solidFill>
              </a:rPr>
              <a:t>Design Treatment” - </a:t>
            </a:r>
            <a:r>
              <a:rPr lang="en-US" sz="825" kern="0" dirty="0">
                <a:solidFill>
                  <a:srgbClr val="313131"/>
                </a:solidFill>
              </a:rPr>
              <a:t>Categorical or Numeric outcome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1653F06-0C36-4048-B4A3-797AF8508B35}"/>
              </a:ext>
            </a:extLst>
          </p:cNvPr>
          <p:cNvSpPr txBox="1"/>
          <p:nvPr/>
        </p:nvSpPr>
        <p:spPr>
          <a:xfrm>
            <a:off x="5944539" y="3967045"/>
            <a:ext cx="2656806" cy="1718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“</a:t>
            </a:r>
            <a:r>
              <a:rPr lang="en-US" sz="825" b="1" i="1" kern="0" dirty="0">
                <a:solidFill>
                  <a:srgbClr val="313131"/>
                </a:solidFill>
              </a:rPr>
              <a:t>Prepare</a:t>
            </a:r>
            <a:r>
              <a:rPr lang="en-US" sz="825" kern="0" dirty="0">
                <a:solidFill>
                  <a:srgbClr val="313131"/>
                </a:solidFill>
              </a:rPr>
              <a:t>” Data into a treated Modeling Matrix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EFA6B70-DD9F-47CB-A51C-8EF08917C445}"/>
              </a:ext>
            </a:extLst>
          </p:cNvPr>
          <p:cNvGrpSpPr/>
          <p:nvPr/>
        </p:nvGrpSpPr>
        <p:grpSpPr>
          <a:xfrm>
            <a:off x="1219576" y="3563675"/>
            <a:ext cx="977216" cy="1779310"/>
            <a:chOff x="381000" y="4800600"/>
            <a:chExt cx="1219200" cy="1752600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38CE6F1-BE19-4552-AEF9-415493EAAF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95313" y="5010150"/>
              <a:ext cx="790575" cy="1333500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D588874-D4BF-4AD9-8934-63298E825E3B}"/>
                </a:ext>
              </a:extLst>
            </p:cNvPr>
            <p:cNvSpPr/>
            <p:nvPr/>
          </p:nvSpPr>
          <p:spPr>
            <a:xfrm>
              <a:off x="381000" y="4800600"/>
              <a:ext cx="1219200" cy="175260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1C62C4-9824-47F1-AF75-E91D86E4DA56}"/>
              </a:ext>
            </a:extLst>
          </p:cNvPr>
          <p:cNvSpPr/>
          <p:nvPr/>
        </p:nvSpPr>
        <p:spPr>
          <a:xfrm>
            <a:off x="3093789" y="3912362"/>
            <a:ext cx="2652154" cy="49994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en-US" sz="900" dirty="0" err="1">
                <a:latin typeface="Consolas" panose="020B0609020204030204" pitchFamily="49" charset="0"/>
              </a:rPr>
              <a:t>treatmentsN</a:t>
            </a:r>
            <a:r>
              <a:rPr lang="en-US" sz="900" dirty="0">
                <a:latin typeface="Consolas" panose="020B0609020204030204" pitchFamily="49" charset="0"/>
              </a:rPr>
              <a:t> &lt;- </a:t>
            </a:r>
            <a:r>
              <a:rPr lang="en-US" sz="900" dirty="0" err="1">
                <a:latin typeface="Consolas" panose="020B0609020204030204" pitchFamily="49" charset="0"/>
              </a:rPr>
              <a:t>designTreatmentsN</a:t>
            </a:r>
            <a:r>
              <a:rPr lang="en-US" sz="900" dirty="0">
                <a:latin typeface="Consolas" panose="020B0609020204030204" pitchFamily="49" charset="0"/>
              </a:rPr>
              <a:t>(...)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C50C47D-7D68-497D-8F9D-F175D80448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4539" y="2108977"/>
            <a:ext cx="2864890" cy="110223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82959FD-7007-4BB9-9B8C-BBF7151BE5E7}"/>
              </a:ext>
            </a:extLst>
          </p:cNvPr>
          <p:cNvSpPr/>
          <p:nvPr/>
        </p:nvSpPr>
        <p:spPr>
          <a:xfrm>
            <a:off x="499983" y="1603191"/>
            <a:ext cx="8144035" cy="2737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err="1">
                <a:solidFill>
                  <a:schemeClr val="bg1"/>
                </a:solidFill>
              </a:rPr>
              <a:t>Vtreat</a:t>
            </a:r>
            <a:r>
              <a:rPr lang="en-US" sz="1350" dirty="0">
                <a:solidFill>
                  <a:schemeClr val="bg1"/>
                </a:solidFill>
              </a:rPr>
              <a:t> automates some data cleaning, imputation and engineers specific response encoded variables.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3C571412-90F7-DAF1-311A-EB83A1C919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00042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6" grpId="0"/>
      <p:bldP spid="17" grpId="0"/>
      <p:bldP spid="18" grpId="0"/>
      <p:bldP spid="23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3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n Imputation - </a:t>
            </a:r>
            <a:r>
              <a:rPr lang="en-US" dirty="0" err="1"/>
              <a:t>PreProcess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34259" y="1104904"/>
            <a:ext cx="6722033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prstClr val="white"/>
                </a:solidFill>
              </a:rPr>
              <a:t>Most of the time we will use </a:t>
            </a:r>
            <a:r>
              <a:rPr lang="en-US" dirty="0" err="1">
                <a:solidFill>
                  <a:prstClr val="white"/>
                </a:solidFill>
              </a:rPr>
              <a:t>vtreat</a:t>
            </a:r>
            <a:r>
              <a:rPr lang="en-US" dirty="0">
                <a:solidFill>
                  <a:prstClr val="white"/>
                </a:solidFill>
              </a:rPr>
              <a:t> to clean data…its faster and easier.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67141" y="1600200"/>
          <a:ext cx="829108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91335">
                  <a:extLst>
                    <a:ext uri="{9D8B030D-6E8A-4147-A177-3AD203B41FA5}">
                      <a16:colId xmlns:a16="http://schemas.microsoft.com/office/drawing/2014/main" val="1410238479"/>
                    </a:ext>
                  </a:extLst>
                </a:gridCol>
                <a:gridCol w="4399749">
                  <a:extLst>
                    <a:ext uri="{9D8B030D-6E8A-4147-A177-3AD203B41FA5}">
                      <a16:colId xmlns:a16="http://schemas.microsoft.com/office/drawing/2014/main" val="28691761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dirty="0" err="1"/>
                        <a:t>Vtreat</a:t>
                      </a:r>
                      <a:r>
                        <a:rPr lang="en-US" sz="1200" baseline="0" dirty="0"/>
                        <a:t> Action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mmon Na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67730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NA,</a:t>
                      </a:r>
                      <a:r>
                        <a:rPr lang="en-US" sz="1200" baseline="0" dirty="0"/>
                        <a:t> NAN, and Infinity replaced with mea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an impu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8820890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46841" y="2522475"/>
            <a:ext cx="38467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When a numeric value is missing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Replace that value with the mean averag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298731" y="2522475"/>
            <a:ext cx="4356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Not applicable for categorical variables 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7594" y="3539523"/>
            <a:ext cx="1485142" cy="2293719"/>
          </a:xfrm>
          <a:prstGeom prst="rect">
            <a:avLst/>
          </a:prstGeom>
        </p:spPr>
      </p:pic>
      <p:sp>
        <p:nvSpPr>
          <p:cNvPr id="21" name="Isosceles Triangle 20"/>
          <p:cNvSpPr/>
          <p:nvPr/>
        </p:nvSpPr>
        <p:spPr>
          <a:xfrm rot="5400000">
            <a:off x="2002221" y="4635063"/>
            <a:ext cx="1434662" cy="283779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979682" y="4099034"/>
            <a:ext cx="14819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prstClr val="black"/>
                </a:solidFill>
              </a:rPr>
              <a:t>Design a treatment plan and apply it.</a:t>
            </a:r>
          </a:p>
        </p:txBody>
      </p:sp>
      <p:sp>
        <p:nvSpPr>
          <p:cNvPr id="23" name="Isosceles Triangle 22"/>
          <p:cNvSpPr/>
          <p:nvPr/>
        </p:nvSpPr>
        <p:spPr>
          <a:xfrm rot="5400000">
            <a:off x="3936126" y="4598277"/>
            <a:ext cx="1434662" cy="283779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3"/>
          <a:srcRect r="53067"/>
          <a:stretch/>
        </p:blipFill>
        <p:spPr>
          <a:xfrm>
            <a:off x="4905868" y="3673365"/>
            <a:ext cx="2317891" cy="2049517"/>
          </a:xfrm>
          <a:prstGeom prst="rect">
            <a:avLst/>
          </a:prstGeom>
        </p:spPr>
      </p:pic>
      <p:sp>
        <p:nvSpPr>
          <p:cNvPr id="26" name="Rounded Rectangle 25"/>
          <p:cNvSpPr/>
          <p:nvPr/>
        </p:nvSpPr>
        <p:spPr>
          <a:xfrm>
            <a:off x="5013434" y="4950372"/>
            <a:ext cx="1277007" cy="34684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1713186" y="5008178"/>
            <a:ext cx="352097" cy="352097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FDE1D736-F08E-C446-B47C-08BCAF7C6363}"/>
              </a:ext>
            </a:extLst>
          </p:cNvPr>
          <p:cNvSpPr txBox="1">
            <a:spLocks/>
          </p:cNvSpPr>
          <p:nvPr/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prstClr val="black">
                    <a:tint val="75000"/>
                  </a:prstClr>
                </a:solidFill>
              </a:rPr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619097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2" grpId="0"/>
      <p:bldP spid="23" grpId="0" animBg="1"/>
      <p:bldP spid="2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When used with </a:t>
            </a:r>
            <a:r>
              <a:rPr lang="en-US" altLang="en-US" u="sng" dirty="0">
                <a:latin typeface="Franklin Gothic Book" pitchFamily="34" charset="0"/>
              </a:rPr>
              <a:t>new</a:t>
            </a:r>
            <a:r>
              <a:rPr lang="en-US" altLang="en-US" dirty="0">
                <a:latin typeface="Franklin Gothic Book" pitchFamily="34" charset="0"/>
              </a:rPr>
              <a:t> data, models of great complexity may do not do so well.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DBF71030-9D88-77AD-E7EC-8AD7818AA3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3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ssing Flags- PreProcess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395716" y="1228728"/>
          <a:ext cx="829108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91335">
                  <a:extLst>
                    <a:ext uri="{9D8B030D-6E8A-4147-A177-3AD203B41FA5}">
                      <a16:colId xmlns:a16="http://schemas.microsoft.com/office/drawing/2014/main" val="1410238479"/>
                    </a:ext>
                  </a:extLst>
                </a:gridCol>
                <a:gridCol w="4399749">
                  <a:extLst>
                    <a:ext uri="{9D8B030D-6E8A-4147-A177-3AD203B41FA5}">
                      <a16:colId xmlns:a16="http://schemas.microsoft.com/office/drawing/2014/main" val="28691761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dirty="0" err="1"/>
                        <a:t>Vtreat</a:t>
                      </a:r>
                      <a:r>
                        <a:rPr lang="en-US" sz="1200" baseline="0" dirty="0"/>
                        <a:t> Action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mmon Na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67730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Indica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issing indica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6703869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46841" y="2238698"/>
            <a:ext cx="38467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When a numeric value is missing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Add a missing flag variab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09089" y="2233443"/>
            <a:ext cx="38467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When a factor level is missing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Add a missing flag variable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0764" y="3936945"/>
            <a:ext cx="1506946" cy="197512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5246" y="3910176"/>
            <a:ext cx="1964285" cy="1866767"/>
          </a:xfrm>
          <a:prstGeom prst="rect">
            <a:avLst/>
          </a:prstGeom>
        </p:spPr>
      </p:pic>
      <p:sp>
        <p:nvSpPr>
          <p:cNvPr id="21" name="Isosceles Triangle 20"/>
          <p:cNvSpPr/>
          <p:nvPr/>
        </p:nvSpPr>
        <p:spPr>
          <a:xfrm rot="5400000">
            <a:off x="2128348" y="4635063"/>
            <a:ext cx="1434662" cy="283779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105809" y="4099034"/>
            <a:ext cx="14819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prstClr val="black"/>
                </a:solidFill>
              </a:rPr>
              <a:t>Design a treatment plan and apply it.</a:t>
            </a:r>
          </a:p>
        </p:txBody>
      </p:sp>
      <p:sp>
        <p:nvSpPr>
          <p:cNvPr id="23" name="Isosceles Triangle 22"/>
          <p:cNvSpPr/>
          <p:nvPr/>
        </p:nvSpPr>
        <p:spPr>
          <a:xfrm rot="5400000">
            <a:off x="4062253" y="4598277"/>
            <a:ext cx="1434662" cy="283779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1996970" y="5150068"/>
            <a:ext cx="352097" cy="352097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1539763" y="4487915"/>
            <a:ext cx="352097" cy="352097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5512682" y="5008178"/>
            <a:ext cx="352097" cy="352097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6505924" y="4361784"/>
            <a:ext cx="352097" cy="352097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587B4773-B8C6-43B9-9797-20A27680BEBF}"/>
              </a:ext>
            </a:extLst>
          </p:cNvPr>
          <p:cNvSpPr txBox="1">
            <a:spLocks/>
          </p:cNvSpPr>
          <p:nvPr/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prstClr val="black">
                    <a:tint val="75000"/>
                  </a:prstClr>
                </a:solidFill>
              </a:rPr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125622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1" grpId="0" animBg="1"/>
      <p:bldP spid="22" grpId="0"/>
      <p:bldP spid="23" grpId="0" animBg="1"/>
      <p:bldP spid="26" grpId="0" animBg="1"/>
      <p:bldP spid="27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3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ummy Variables - </a:t>
            </a:r>
            <a:r>
              <a:rPr lang="en-US" dirty="0" err="1"/>
              <a:t>PreProcess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95716" y="1200155"/>
          <a:ext cx="829108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91335">
                  <a:extLst>
                    <a:ext uri="{9D8B030D-6E8A-4147-A177-3AD203B41FA5}">
                      <a16:colId xmlns:a16="http://schemas.microsoft.com/office/drawing/2014/main" val="1410238479"/>
                    </a:ext>
                  </a:extLst>
                </a:gridCol>
                <a:gridCol w="4399749">
                  <a:extLst>
                    <a:ext uri="{9D8B030D-6E8A-4147-A177-3AD203B41FA5}">
                      <a16:colId xmlns:a16="http://schemas.microsoft.com/office/drawing/2014/main" val="28691761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dirty="0" err="1"/>
                        <a:t>Vtreat</a:t>
                      </a:r>
                      <a:r>
                        <a:rPr lang="en-US" sz="1200" baseline="0" dirty="0"/>
                        <a:t> Action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mmon Na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67730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Indicator variab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ummy variab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1944941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46841" y="2207159"/>
            <a:ext cx="38467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Not applicable for numeric valu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409089" y="2201904"/>
            <a:ext cx="38467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For each factor level, will create dummy variables.</a:t>
            </a:r>
          </a:p>
        </p:txBody>
      </p:sp>
      <p:sp>
        <p:nvSpPr>
          <p:cNvPr id="10" name="Rectangle 9"/>
          <p:cNvSpPr/>
          <p:nvPr/>
        </p:nvSpPr>
        <p:spPr>
          <a:xfrm>
            <a:off x="811925" y="5328745"/>
            <a:ext cx="7520151" cy="5675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Beware!  Since some algorithms don’t care, </a:t>
            </a:r>
            <a:r>
              <a:rPr lang="en-US" dirty="0" err="1">
                <a:solidFill>
                  <a:prstClr val="white"/>
                </a:solidFill>
              </a:rPr>
              <a:t>vtreat</a:t>
            </a:r>
            <a:r>
              <a:rPr lang="en-US" dirty="0">
                <a:solidFill>
                  <a:prstClr val="white"/>
                </a:solidFill>
              </a:rPr>
              <a:t> will return ALL dummy variables and not drop one to represent all 0s.</a:t>
            </a:r>
          </a:p>
        </p:txBody>
      </p:sp>
      <p:sp>
        <p:nvSpPr>
          <p:cNvPr id="23" name="Isosceles Triangle 22"/>
          <p:cNvSpPr/>
          <p:nvPr/>
        </p:nvSpPr>
        <p:spPr>
          <a:xfrm rot="5400000">
            <a:off x="2112579" y="3925616"/>
            <a:ext cx="1434662" cy="283779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900854" y="3389586"/>
            <a:ext cx="14819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prstClr val="black"/>
                </a:solidFill>
              </a:rPr>
              <a:t>Design a treatment plan and apply it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91872CC-AA62-064A-AF71-203412A6D1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9700" y="2902407"/>
            <a:ext cx="2279346" cy="2053028"/>
          </a:xfrm>
          <a:prstGeom prst="rect">
            <a:avLst/>
          </a:prstGeom>
        </p:spPr>
      </p:pic>
      <p:sp>
        <p:nvSpPr>
          <p:cNvPr id="25" name="Isosceles Triangle 24"/>
          <p:cNvSpPr/>
          <p:nvPr/>
        </p:nvSpPr>
        <p:spPr>
          <a:xfrm rot="5400000">
            <a:off x="3652344" y="3904595"/>
            <a:ext cx="1434662" cy="283779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47BDF67-37A1-404B-9CDE-43E8DE42A07D}"/>
              </a:ext>
            </a:extLst>
          </p:cNvPr>
          <p:cNvSpPr/>
          <p:nvPr/>
        </p:nvSpPr>
        <p:spPr>
          <a:xfrm>
            <a:off x="6351639" y="3108304"/>
            <a:ext cx="976145" cy="241870"/>
          </a:xfrm>
          <a:prstGeom prst="ellipse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EAE474B-36D8-C042-B705-5093060205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2976" y="2755273"/>
            <a:ext cx="796909" cy="2200162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AD65EE3-0911-881F-BD31-AFD240995E18}"/>
              </a:ext>
            </a:extLst>
          </p:cNvPr>
          <p:cNvSpPr txBox="1">
            <a:spLocks/>
          </p:cNvSpPr>
          <p:nvPr/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prstClr val="black">
                    <a:tint val="75000"/>
                  </a:prstClr>
                </a:solidFill>
              </a:rPr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988827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3" grpId="0" animBg="1"/>
      <p:bldP spid="24" grpId="0"/>
      <p:bldP spid="25" grpId="0" animBg="1"/>
      <p:bldP spid="6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3ED0B2-08F3-49C5-A308-8FFE3F73F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treat</a:t>
            </a:r>
            <a:r>
              <a:rPr lang="en-US" dirty="0"/>
              <a:t> Engineered CAT Variables Example</a:t>
            </a:r>
            <a:endParaRPr lang="en-US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C96F04-31FB-4BD3-AB03-52519688B62F}"/>
              </a:ext>
            </a:extLst>
          </p:cNvPr>
          <p:cNvSpPr txBox="1"/>
          <p:nvPr/>
        </p:nvSpPr>
        <p:spPr>
          <a:xfrm>
            <a:off x="662473" y="5172266"/>
            <a:ext cx="248602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Organize a Modeling Matrix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2AFD3111-0707-4032-AF28-502B9E3959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473" y="4973386"/>
            <a:ext cx="2486025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1</a:t>
            </a: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075E59DA-02BA-45C7-9A23-360111548E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3277" y="4447176"/>
            <a:ext cx="2486025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2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AD2D8712-DCBE-4647-A81D-43F88529C648}"/>
              </a:ext>
            </a:extLst>
          </p:cNvPr>
          <p:cNvSpPr>
            <a:spLocks/>
          </p:cNvSpPr>
          <p:nvPr/>
        </p:nvSpPr>
        <p:spPr bwMode="auto">
          <a:xfrm>
            <a:off x="552281" y="3844464"/>
            <a:ext cx="7864079" cy="1584833"/>
          </a:xfrm>
          <a:custGeom>
            <a:avLst/>
            <a:gdLst>
              <a:gd name="T0" fmla="*/ 0 w 5281"/>
              <a:gd name="T1" fmla="*/ 2147483647 h 1635"/>
              <a:gd name="T2" fmla="*/ 0 w 5281"/>
              <a:gd name="T3" fmla="*/ 2147483647 h 1635"/>
              <a:gd name="T4" fmla="*/ 2147483647 w 5281"/>
              <a:gd name="T5" fmla="*/ 2147483647 h 1635"/>
              <a:gd name="T6" fmla="*/ 2147483647 w 5281"/>
              <a:gd name="T7" fmla="*/ 2147483647 h 1635"/>
              <a:gd name="T8" fmla="*/ 2147483647 w 5281"/>
              <a:gd name="T9" fmla="*/ 2147483647 h 1635"/>
              <a:gd name="T10" fmla="*/ 2147483647 w 5281"/>
              <a:gd name="T11" fmla="*/ 0 h 1635"/>
              <a:gd name="T12" fmla="*/ 2147483647 w 5281"/>
              <a:gd name="T13" fmla="*/ 0 h 163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281"/>
              <a:gd name="T22" fmla="*/ 0 h 1635"/>
              <a:gd name="T23" fmla="*/ 5281 w 5281"/>
              <a:gd name="T24" fmla="*/ 1635 h 163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281" h="1635">
                <a:moveTo>
                  <a:pt x="0" y="1634"/>
                </a:moveTo>
                <a:lnTo>
                  <a:pt x="0" y="1089"/>
                </a:lnTo>
                <a:lnTo>
                  <a:pt x="1760" y="1089"/>
                </a:lnTo>
                <a:lnTo>
                  <a:pt x="1760" y="544"/>
                </a:lnTo>
                <a:lnTo>
                  <a:pt x="3520" y="544"/>
                </a:lnTo>
                <a:lnTo>
                  <a:pt x="3520" y="0"/>
                </a:lnTo>
                <a:lnTo>
                  <a:pt x="5280" y="0"/>
                </a:lnTo>
              </a:path>
            </a:pathLst>
          </a:custGeom>
          <a:noFill/>
          <a:ln w="9525" cap="rnd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 defTabSz="685800">
              <a:defRPr/>
            </a:pPr>
            <a:endParaRPr lang="en-US" sz="1350" kern="0" dirty="0">
              <a:solidFill>
                <a:prstClr val="black"/>
              </a:solidFill>
            </a:endParaRPr>
          </a:p>
        </p:txBody>
      </p:sp>
      <p:sp>
        <p:nvSpPr>
          <p:cNvPr id="16" name="Text Box 6">
            <a:extLst>
              <a:ext uri="{FF2B5EF4-FFF2-40B4-BE49-F238E27FC236}">
                <a16:creationId xmlns:a16="http://schemas.microsoft.com/office/drawing/2014/main" id="{1A07897B-57C8-4C39-AADB-282A244123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10987" y="3906493"/>
            <a:ext cx="2486025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3*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CE10A04-B818-4A76-B304-B20DAA4838F5}"/>
              </a:ext>
            </a:extLst>
          </p:cNvPr>
          <p:cNvSpPr txBox="1"/>
          <p:nvPr/>
        </p:nvSpPr>
        <p:spPr>
          <a:xfrm>
            <a:off x="3283277" y="4641739"/>
            <a:ext cx="248602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“</a:t>
            </a:r>
            <a:r>
              <a:rPr lang="en-US" sz="825" b="1" i="1" kern="0" dirty="0">
                <a:solidFill>
                  <a:srgbClr val="313131"/>
                </a:solidFill>
              </a:rPr>
              <a:t>Design Treatment” - </a:t>
            </a:r>
            <a:r>
              <a:rPr lang="en-US" sz="825" kern="0" dirty="0">
                <a:solidFill>
                  <a:srgbClr val="313131"/>
                </a:solidFill>
              </a:rPr>
              <a:t>Categorical or Numeric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1653F06-0C36-4048-B4A3-797AF8508B35}"/>
              </a:ext>
            </a:extLst>
          </p:cNvPr>
          <p:cNvSpPr txBox="1"/>
          <p:nvPr/>
        </p:nvSpPr>
        <p:spPr>
          <a:xfrm>
            <a:off x="5910987" y="4098474"/>
            <a:ext cx="2486025" cy="3180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“</a:t>
            </a:r>
            <a:r>
              <a:rPr lang="en-US" sz="825" b="1" i="1" kern="0" dirty="0">
                <a:solidFill>
                  <a:srgbClr val="313131"/>
                </a:solidFill>
              </a:rPr>
              <a:t>Prepare</a:t>
            </a:r>
            <a:r>
              <a:rPr lang="en-US" sz="825" kern="0" dirty="0">
                <a:solidFill>
                  <a:srgbClr val="313131"/>
                </a:solidFill>
              </a:rPr>
              <a:t>” Data into a treated Modeling Matrix</a:t>
            </a:r>
          </a:p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*</a:t>
            </a:r>
            <a:r>
              <a:rPr lang="en-US" sz="825" i="1" kern="0" dirty="0">
                <a:solidFill>
                  <a:srgbClr val="313131"/>
                </a:solidFill>
              </a:rPr>
              <a:t>abridged data show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91C62C4-9824-47F1-AF75-E91D86E4DA56}"/>
              </a:ext>
            </a:extLst>
          </p:cNvPr>
          <p:cNvSpPr/>
          <p:nvPr/>
        </p:nvSpPr>
        <p:spPr>
          <a:xfrm>
            <a:off x="3258691" y="4801970"/>
            <a:ext cx="2481672" cy="36933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en-US" sz="900" dirty="0" err="1">
                <a:latin typeface="Consolas" panose="020B0609020204030204" pitchFamily="49" charset="0"/>
              </a:rPr>
              <a:t>treatmentsN</a:t>
            </a:r>
            <a:r>
              <a:rPr lang="en-US" sz="900" dirty="0">
                <a:latin typeface="Consolas" panose="020B0609020204030204" pitchFamily="49" charset="0"/>
              </a:rPr>
              <a:t> &lt;- </a:t>
            </a:r>
            <a:r>
              <a:rPr lang="en-US" sz="900" dirty="0" err="1">
                <a:latin typeface="Consolas" panose="020B0609020204030204" pitchFamily="49" charset="0"/>
              </a:rPr>
              <a:t>designTreatmentsN</a:t>
            </a:r>
            <a:r>
              <a:rPr lang="en-US" sz="900" dirty="0">
                <a:latin typeface="Consolas" panose="020B0609020204030204" pitchFamily="49" charset="0"/>
              </a:rPr>
              <a:t>(...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AF545A3-BF92-493C-BBD2-A216529F9E73}"/>
              </a:ext>
            </a:extLst>
          </p:cNvPr>
          <p:cNvSpPr txBox="1"/>
          <p:nvPr/>
        </p:nvSpPr>
        <p:spPr>
          <a:xfrm>
            <a:off x="3207859" y="2257450"/>
            <a:ext cx="247341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dirty="0" err="1">
                <a:solidFill>
                  <a:schemeClr val="tx2"/>
                </a:solidFill>
              </a:rPr>
              <a:t>CatN</a:t>
            </a:r>
            <a:r>
              <a:rPr lang="en-US" sz="1050" b="1" u="sng" dirty="0">
                <a:solidFill>
                  <a:schemeClr val="tx2"/>
                </a:solidFill>
              </a:rPr>
              <a:t> (Numeric):</a:t>
            </a:r>
            <a:endParaRPr lang="en-US" sz="1050" dirty="0">
              <a:solidFill>
                <a:schemeClr val="tx2"/>
              </a:solidFill>
            </a:endParaRPr>
          </a:p>
          <a:p>
            <a:r>
              <a:rPr lang="en-US" sz="1200" dirty="0">
                <a:solidFill>
                  <a:schemeClr val="tx2"/>
                </a:solidFill>
              </a:rPr>
              <a:t>X equals A &amp; Y equals 1: (1/3) minus</a:t>
            </a:r>
          </a:p>
          <a:p>
            <a:r>
              <a:rPr lang="en-US" sz="1200" dirty="0">
                <a:solidFill>
                  <a:schemeClr val="tx2"/>
                </a:solidFill>
              </a:rPr>
              <a:t>Overall Y value  equals 1: (3/7)</a:t>
            </a:r>
          </a:p>
          <a:p>
            <a:r>
              <a:rPr lang="en-US" sz="1200" dirty="0">
                <a:solidFill>
                  <a:schemeClr val="tx2"/>
                </a:solidFill>
              </a:rPr>
              <a:t>0.33 - .42 =</a:t>
            </a:r>
          </a:p>
          <a:p>
            <a:r>
              <a:rPr lang="en-US" sz="1200" dirty="0">
                <a:solidFill>
                  <a:schemeClr val="tx2"/>
                </a:solidFill>
              </a:rPr>
              <a:t>  -0.0952381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DEDB49D-2D6F-4473-803A-978A5CA28E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5432" y="3355741"/>
            <a:ext cx="589276" cy="148546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A0BE6702-63DA-4D08-A414-CB47F25573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7081" y="2610763"/>
            <a:ext cx="2332247" cy="1079387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890F8E62-EE23-4EC7-9C98-A12F196BC122}"/>
              </a:ext>
            </a:extLst>
          </p:cNvPr>
          <p:cNvSpPr txBox="1"/>
          <p:nvPr/>
        </p:nvSpPr>
        <p:spPr>
          <a:xfrm>
            <a:off x="3359227" y="1676775"/>
            <a:ext cx="22568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>
                <a:solidFill>
                  <a:schemeClr val="tx2"/>
                </a:solidFill>
              </a:rPr>
              <a:t>Simple Calculati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393F374-36CB-4C22-8880-1C05A72B51A6}"/>
              </a:ext>
            </a:extLst>
          </p:cNvPr>
          <p:cNvSpPr/>
          <p:nvPr/>
        </p:nvSpPr>
        <p:spPr>
          <a:xfrm>
            <a:off x="3148498" y="1676775"/>
            <a:ext cx="2591865" cy="26038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ooter Placeholder 5">
            <a:extLst>
              <a:ext uri="{FF2B5EF4-FFF2-40B4-BE49-F238E27FC236}">
                <a16:creationId xmlns:a16="http://schemas.microsoft.com/office/drawing/2014/main" id="{3BD28E5E-FADE-CE46-8F7E-B70DA51B06DD}"/>
              </a:ext>
            </a:extLst>
          </p:cNvPr>
          <p:cNvSpPr txBox="1">
            <a:spLocks/>
          </p:cNvSpPr>
          <p:nvPr/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prstClr val="black">
                    <a:tint val="75000"/>
                  </a:prstClr>
                </a:solidFill>
              </a:rPr>
              <a:t>Kwartler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DA47D381-667F-8B46-BDF9-03FBCDFC1DE4}"/>
              </a:ext>
            </a:extLst>
          </p:cNvPr>
          <p:cNvSpPr/>
          <p:nvPr/>
        </p:nvSpPr>
        <p:spPr>
          <a:xfrm>
            <a:off x="6813755" y="2684853"/>
            <a:ext cx="816077" cy="233516"/>
          </a:xfrm>
          <a:prstGeom prst="ellipse">
            <a:avLst/>
          </a:prstGeom>
          <a:noFill/>
          <a:ln w="285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9E5977-9F81-AE40-85E0-50D6C0F94FA3}"/>
              </a:ext>
            </a:extLst>
          </p:cNvPr>
          <p:cNvSpPr/>
          <p:nvPr/>
        </p:nvSpPr>
        <p:spPr>
          <a:xfrm>
            <a:off x="1778000" y="4142649"/>
            <a:ext cx="304800" cy="182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4824C0A-66E7-4F46-85D6-71C2AEFDB257}"/>
              </a:ext>
            </a:extLst>
          </p:cNvPr>
          <p:cNvSpPr/>
          <p:nvPr/>
        </p:nvSpPr>
        <p:spPr>
          <a:xfrm>
            <a:off x="1971040" y="4467769"/>
            <a:ext cx="121920" cy="36576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50A925C-866E-F740-94DC-3D789AC9C821}"/>
              </a:ext>
            </a:extLst>
          </p:cNvPr>
          <p:cNvSpPr txBox="1"/>
          <p:nvPr/>
        </p:nvSpPr>
        <p:spPr>
          <a:xfrm>
            <a:off x="6133939" y="1962810"/>
            <a:ext cx="24734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dirty="0">
                <a:solidFill>
                  <a:schemeClr val="tx2"/>
                </a:solidFill>
              </a:rPr>
              <a:t>The propensity of A to Y=1 is less than average Y’s </a:t>
            </a:r>
            <a:r>
              <a:rPr lang="en-US" sz="1200" b="1" u="sng" dirty="0" err="1">
                <a:solidFill>
                  <a:schemeClr val="tx2"/>
                </a:solidFill>
              </a:rPr>
              <a:t>occurence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9366956-10F0-8E5A-DBB6-EE5C43AFD2F5}"/>
              </a:ext>
            </a:extLst>
          </p:cNvPr>
          <p:cNvSpPr/>
          <p:nvPr/>
        </p:nvSpPr>
        <p:spPr>
          <a:xfrm>
            <a:off x="1801466" y="3667133"/>
            <a:ext cx="121920" cy="36576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798B0D4-D97A-EC1C-CEA2-8AD04C38B441}"/>
              </a:ext>
            </a:extLst>
          </p:cNvPr>
          <p:cNvSpPr/>
          <p:nvPr/>
        </p:nvSpPr>
        <p:spPr>
          <a:xfrm>
            <a:off x="537163" y="5844583"/>
            <a:ext cx="8345579" cy="369332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For each category level, what’s the difference between its proportion of success compared to the overall, natural propensity for success in the data.</a:t>
            </a:r>
          </a:p>
        </p:txBody>
      </p:sp>
    </p:spTree>
    <p:extLst>
      <p:ext uri="{BB962C8B-B14F-4D97-AF65-F5344CB8AC3E}">
        <p14:creationId xmlns:p14="http://schemas.microsoft.com/office/powerpoint/2010/main" val="1742690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9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3" grpId="0" animBg="1"/>
      <p:bldP spid="3" grpId="1" animBg="1"/>
      <p:bldP spid="25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3ED0B2-08F3-49C5-A308-8FFE3F73F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treat</a:t>
            </a:r>
            <a:r>
              <a:rPr lang="en-US" dirty="0"/>
              <a:t> Engineered CAT Variables Example</a:t>
            </a:r>
            <a:endParaRPr lang="en-US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C96F04-31FB-4BD3-AB03-52519688B62F}"/>
              </a:ext>
            </a:extLst>
          </p:cNvPr>
          <p:cNvSpPr txBox="1"/>
          <p:nvPr/>
        </p:nvSpPr>
        <p:spPr>
          <a:xfrm>
            <a:off x="662473" y="5029755"/>
            <a:ext cx="248602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Organize a Modeling Matrix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2AFD3111-0707-4032-AF28-502B9E3959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473" y="4830875"/>
            <a:ext cx="2486025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1</a:t>
            </a: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075E59DA-02BA-45C7-9A23-360111548E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3277" y="4304665"/>
            <a:ext cx="2486025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2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AD2D8712-DCBE-4647-A81D-43F88529C648}"/>
              </a:ext>
            </a:extLst>
          </p:cNvPr>
          <p:cNvSpPr>
            <a:spLocks/>
          </p:cNvSpPr>
          <p:nvPr/>
        </p:nvSpPr>
        <p:spPr bwMode="auto">
          <a:xfrm>
            <a:off x="552281" y="3701953"/>
            <a:ext cx="7864079" cy="1584833"/>
          </a:xfrm>
          <a:custGeom>
            <a:avLst/>
            <a:gdLst>
              <a:gd name="T0" fmla="*/ 0 w 5281"/>
              <a:gd name="T1" fmla="*/ 2147483647 h 1635"/>
              <a:gd name="T2" fmla="*/ 0 w 5281"/>
              <a:gd name="T3" fmla="*/ 2147483647 h 1635"/>
              <a:gd name="T4" fmla="*/ 2147483647 w 5281"/>
              <a:gd name="T5" fmla="*/ 2147483647 h 1635"/>
              <a:gd name="T6" fmla="*/ 2147483647 w 5281"/>
              <a:gd name="T7" fmla="*/ 2147483647 h 1635"/>
              <a:gd name="T8" fmla="*/ 2147483647 w 5281"/>
              <a:gd name="T9" fmla="*/ 2147483647 h 1635"/>
              <a:gd name="T10" fmla="*/ 2147483647 w 5281"/>
              <a:gd name="T11" fmla="*/ 0 h 1635"/>
              <a:gd name="T12" fmla="*/ 2147483647 w 5281"/>
              <a:gd name="T13" fmla="*/ 0 h 163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281"/>
              <a:gd name="T22" fmla="*/ 0 h 1635"/>
              <a:gd name="T23" fmla="*/ 5281 w 5281"/>
              <a:gd name="T24" fmla="*/ 1635 h 163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281" h="1635">
                <a:moveTo>
                  <a:pt x="0" y="1634"/>
                </a:moveTo>
                <a:lnTo>
                  <a:pt x="0" y="1089"/>
                </a:lnTo>
                <a:lnTo>
                  <a:pt x="1760" y="1089"/>
                </a:lnTo>
                <a:lnTo>
                  <a:pt x="1760" y="544"/>
                </a:lnTo>
                <a:lnTo>
                  <a:pt x="3520" y="544"/>
                </a:lnTo>
                <a:lnTo>
                  <a:pt x="3520" y="0"/>
                </a:lnTo>
                <a:lnTo>
                  <a:pt x="5280" y="0"/>
                </a:lnTo>
              </a:path>
            </a:pathLst>
          </a:custGeom>
          <a:noFill/>
          <a:ln w="9525" cap="rnd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 defTabSz="685800">
              <a:defRPr/>
            </a:pPr>
            <a:endParaRPr lang="en-US" sz="1350" kern="0" dirty="0">
              <a:solidFill>
                <a:prstClr val="black"/>
              </a:solidFill>
            </a:endParaRPr>
          </a:p>
        </p:txBody>
      </p:sp>
      <p:sp>
        <p:nvSpPr>
          <p:cNvPr id="16" name="Text Box 6">
            <a:extLst>
              <a:ext uri="{FF2B5EF4-FFF2-40B4-BE49-F238E27FC236}">
                <a16:creationId xmlns:a16="http://schemas.microsoft.com/office/drawing/2014/main" id="{1A07897B-57C8-4C39-AADB-282A244123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10987" y="3763982"/>
            <a:ext cx="2486025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3*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CE10A04-B818-4A76-B304-B20DAA4838F5}"/>
              </a:ext>
            </a:extLst>
          </p:cNvPr>
          <p:cNvSpPr txBox="1"/>
          <p:nvPr/>
        </p:nvSpPr>
        <p:spPr>
          <a:xfrm>
            <a:off x="3283277" y="4499228"/>
            <a:ext cx="248602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“</a:t>
            </a:r>
            <a:r>
              <a:rPr lang="en-US" sz="825" b="1" i="1" kern="0" dirty="0">
                <a:solidFill>
                  <a:srgbClr val="313131"/>
                </a:solidFill>
              </a:rPr>
              <a:t>Design Treatment” - </a:t>
            </a:r>
            <a:r>
              <a:rPr lang="en-US" sz="825" kern="0" dirty="0">
                <a:solidFill>
                  <a:srgbClr val="313131"/>
                </a:solidFill>
              </a:rPr>
              <a:t>Categorical or Numeric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1653F06-0C36-4048-B4A3-797AF8508B35}"/>
              </a:ext>
            </a:extLst>
          </p:cNvPr>
          <p:cNvSpPr txBox="1"/>
          <p:nvPr/>
        </p:nvSpPr>
        <p:spPr>
          <a:xfrm>
            <a:off x="5910987" y="3955963"/>
            <a:ext cx="2486025" cy="3180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“</a:t>
            </a:r>
            <a:r>
              <a:rPr lang="en-US" sz="825" b="1" i="1" kern="0" dirty="0">
                <a:solidFill>
                  <a:srgbClr val="313131"/>
                </a:solidFill>
              </a:rPr>
              <a:t>Prepare</a:t>
            </a:r>
            <a:r>
              <a:rPr lang="en-US" sz="825" kern="0" dirty="0">
                <a:solidFill>
                  <a:srgbClr val="313131"/>
                </a:solidFill>
              </a:rPr>
              <a:t>” Data into a treated Modeling Matrix</a:t>
            </a:r>
          </a:p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*</a:t>
            </a:r>
            <a:r>
              <a:rPr lang="en-US" sz="825" i="1" kern="0" dirty="0">
                <a:solidFill>
                  <a:srgbClr val="313131"/>
                </a:solidFill>
              </a:rPr>
              <a:t>abridged data show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91C62C4-9824-47F1-AF75-E91D86E4DA56}"/>
              </a:ext>
            </a:extLst>
          </p:cNvPr>
          <p:cNvSpPr/>
          <p:nvPr/>
        </p:nvSpPr>
        <p:spPr>
          <a:xfrm>
            <a:off x="3258691" y="4659459"/>
            <a:ext cx="2481672" cy="36933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en-US" sz="900" dirty="0" err="1">
                <a:latin typeface="Consolas" panose="020B0609020204030204" pitchFamily="49" charset="0"/>
              </a:rPr>
              <a:t>treatmentsN</a:t>
            </a:r>
            <a:r>
              <a:rPr lang="en-US" sz="900" dirty="0">
                <a:latin typeface="Consolas" panose="020B0609020204030204" pitchFamily="49" charset="0"/>
              </a:rPr>
              <a:t> &lt;- </a:t>
            </a:r>
            <a:r>
              <a:rPr lang="en-US" sz="900" dirty="0" err="1">
                <a:latin typeface="Consolas" panose="020B0609020204030204" pitchFamily="49" charset="0"/>
              </a:rPr>
              <a:t>designTreatmentsN</a:t>
            </a:r>
            <a:r>
              <a:rPr lang="en-US" sz="900" dirty="0">
                <a:latin typeface="Consolas" panose="020B0609020204030204" pitchFamily="49" charset="0"/>
              </a:rPr>
              <a:t>(...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DEDB49D-2D6F-4473-803A-978A5CA28E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5432" y="3213230"/>
            <a:ext cx="589276" cy="148546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A0BE6702-63DA-4D08-A414-CB47F25573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7081" y="2468252"/>
            <a:ext cx="2332247" cy="1079387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B8D278A3-EA31-48A7-96CA-F4A59A27D8E1}"/>
              </a:ext>
            </a:extLst>
          </p:cNvPr>
          <p:cNvSpPr txBox="1"/>
          <p:nvPr/>
        </p:nvSpPr>
        <p:spPr>
          <a:xfrm>
            <a:off x="3207859" y="2589891"/>
            <a:ext cx="22568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dirty="0" err="1">
                <a:solidFill>
                  <a:schemeClr val="tx2"/>
                </a:solidFill>
              </a:rPr>
              <a:t>CatD</a:t>
            </a:r>
            <a:r>
              <a:rPr lang="en-US" sz="1200" b="1" u="sng" dirty="0">
                <a:solidFill>
                  <a:schemeClr val="tx2"/>
                </a:solidFill>
              </a:rPr>
              <a:t> (Deviation):</a:t>
            </a:r>
          </a:p>
          <a:p>
            <a:r>
              <a:rPr lang="en-US" sz="1200" dirty="0">
                <a:solidFill>
                  <a:schemeClr val="tx2"/>
                </a:solidFill>
              </a:rPr>
              <a:t>Level B </a:t>
            </a:r>
            <a:r>
              <a:rPr lang="en-US" sz="1200" dirty="0" err="1">
                <a:solidFill>
                  <a:schemeClr val="tx2"/>
                </a:solidFill>
              </a:rPr>
              <a:t>sd</a:t>
            </a:r>
            <a:r>
              <a:rPr lang="en-US" sz="1200" dirty="0">
                <a:solidFill>
                  <a:schemeClr val="tx2"/>
                </a:solidFill>
              </a:rPr>
              <a:t>(c(0,1)) = 0.7071068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90F8E62-EE23-4EC7-9C98-A12F196BC122}"/>
              </a:ext>
            </a:extLst>
          </p:cNvPr>
          <p:cNvSpPr txBox="1"/>
          <p:nvPr/>
        </p:nvSpPr>
        <p:spPr>
          <a:xfrm>
            <a:off x="3359227" y="1534264"/>
            <a:ext cx="22568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>
                <a:solidFill>
                  <a:schemeClr val="tx2"/>
                </a:solidFill>
              </a:rPr>
              <a:t>Simple Calculati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393F374-36CB-4C22-8880-1C05A72B51A6}"/>
              </a:ext>
            </a:extLst>
          </p:cNvPr>
          <p:cNvSpPr/>
          <p:nvPr/>
        </p:nvSpPr>
        <p:spPr>
          <a:xfrm>
            <a:off x="3148498" y="1534264"/>
            <a:ext cx="2591865" cy="26038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ooter Placeholder 5">
            <a:extLst>
              <a:ext uri="{FF2B5EF4-FFF2-40B4-BE49-F238E27FC236}">
                <a16:creationId xmlns:a16="http://schemas.microsoft.com/office/drawing/2014/main" id="{3BD28E5E-FADE-CE46-8F7E-B70DA51B06DD}"/>
              </a:ext>
            </a:extLst>
          </p:cNvPr>
          <p:cNvSpPr txBox="1">
            <a:spLocks/>
          </p:cNvSpPr>
          <p:nvPr/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prstClr val="black">
                    <a:tint val="75000"/>
                  </a:prstClr>
                </a:solidFill>
              </a:rPr>
              <a:t>Kwartler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6346B29-38CF-7247-A02A-A5574441CB2C}"/>
              </a:ext>
            </a:extLst>
          </p:cNvPr>
          <p:cNvSpPr/>
          <p:nvPr/>
        </p:nvSpPr>
        <p:spPr>
          <a:xfrm>
            <a:off x="7580935" y="2783150"/>
            <a:ext cx="816077" cy="233516"/>
          </a:xfrm>
          <a:prstGeom prst="ellipse">
            <a:avLst/>
          </a:prstGeom>
          <a:noFill/>
          <a:ln w="285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9E5977-9F81-AE40-85E0-50D6C0F94FA3}"/>
              </a:ext>
            </a:extLst>
          </p:cNvPr>
          <p:cNvSpPr/>
          <p:nvPr/>
        </p:nvSpPr>
        <p:spPr>
          <a:xfrm>
            <a:off x="1798320" y="4162698"/>
            <a:ext cx="304800" cy="182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9551AA6-1D1E-A449-B804-6B87F8109456}"/>
              </a:ext>
            </a:extLst>
          </p:cNvPr>
          <p:cNvSpPr/>
          <p:nvPr/>
        </p:nvSpPr>
        <p:spPr>
          <a:xfrm>
            <a:off x="1798320" y="4335418"/>
            <a:ext cx="304800" cy="182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D2B117D-E5A4-0041-B8E9-9D7FB5AD11C2}"/>
              </a:ext>
            </a:extLst>
          </p:cNvPr>
          <p:cNvSpPr txBox="1"/>
          <p:nvPr/>
        </p:nvSpPr>
        <p:spPr>
          <a:xfrm>
            <a:off x="5981539" y="1454539"/>
            <a:ext cx="24734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dirty="0">
                <a:solidFill>
                  <a:schemeClr val="tx2"/>
                </a:solidFill>
              </a:rPr>
              <a:t>The standard deviation of Y for level B captures the relationship’s distribu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852D06D-C398-FC89-6660-656106EAC3B4}"/>
              </a:ext>
            </a:extLst>
          </p:cNvPr>
          <p:cNvSpPr/>
          <p:nvPr/>
        </p:nvSpPr>
        <p:spPr>
          <a:xfrm>
            <a:off x="537163" y="5844583"/>
            <a:ext cx="8345579" cy="230832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For each category level how diffuse is the relationship with the success outcome.</a:t>
            </a:r>
          </a:p>
        </p:txBody>
      </p:sp>
    </p:spTree>
    <p:extLst>
      <p:ext uri="{BB962C8B-B14F-4D97-AF65-F5344CB8AC3E}">
        <p14:creationId xmlns:p14="http://schemas.microsoft.com/office/powerpoint/2010/main" val="8147716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9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  <p:bldP spid="21" grpId="0" animBg="1"/>
      <p:bldP spid="21" grpId="1" animBg="1"/>
      <p:bldP spid="26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3ED0B2-08F3-49C5-A308-8FFE3F73F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treat</a:t>
            </a:r>
            <a:r>
              <a:rPr lang="en-US" dirty="0"/>
              <a:t> Engineered CAT Variables Example</a:t>
            </a:r>
            <a:endParaRPr lang="en-US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C96F04-31FB-4BD3-AB03-52519688B62F}"/>
              </a:ext>
            </a:extLst>
          </p:cNvPr>
          <p:cNvSpPr txBox="1"/>
          <p:nvPr/>
        </p:nvSpPr>
        <p:spPr>
          <a:xfrm>
            <a:off x="662473" y="4778773"/>
            <a:ext cx="248602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Organize a Modeling Matrix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2AFD3111-0707-4032-AF28-502B9E3959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473" y="4579893"/>
            <a:ext cx="2486025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1</a:t>
            </a: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075E59DA-02BA-45C7-9A23-360111548E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3277" y="4053683"/>
            <a:ext cx="2486025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2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AD2D8712-DCBE-4647-A81D-43F88529C648}"/>
              </a:ext>
            </a:extLst>
          </p:cNvPr>
          <p:cNvSpPr>
            <a:spLocks/>
          </p:cNvSpPr>
          <p:nvPr/>
        </p:nvSpPr>
        <p:spPr bwMode="auto">
          <a:xfrm>
            <a:off x="552281" y="3450971"/>
            <a:ext cx="7864079" cy="1584833"/>
          </a:xfrm>
          <a:custGeom>
            <a:avLst/>
            <a:gdLst>
              <a:gd name="T0" fmla="*/ 0 w 5281"/>
              <a:gd name="T1" fmla="*/ 2147483647 h 1635"/>
              <a:gd name="T2" fmla="*/ 0 w 5281"/>
              <a:gd name="T3" fmla="*/ 2147483647 h 1635"/>
              <a:gd name="T4" fmla="*/ 2147483647 w 5281"/>
              <a:gd name="T5" fmla="*/ 2147483647 h 1635"/>
              <a:gd name="T6" fmla="*/ 2147483647 w 5281"/>
              <a:gd name="T7" fmla="*/ 2147483647 h 1635"/>
              <a:gd name="T8" fmla="*/ 2147483647 w 5281"/>
              <a:gd name="T9" fmla="*/ 2147483647 h 1635"/>
              <a:gd name="T10" fmla="*/ 2147483647 w 5281"/>
              <a:gd name="T11" fmla="*/ 0 h 1635"/>
              <a:gd name="T12" fmla="*/ 2147483647 w 5281"/>
              <a:gd name="T13" fmla="*/ 0 h 163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281"/>
              <a:gd name="T22" fmla="*/ 0 h 1635"/>
              <a:gd name="T23" fmla="*/ 5281 w 5281"/>
              <a:gd name="T24" fmla="*/ 1635 h 163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281" h="1635">
                <a:moveTo>
                  <a:pt x="0" y="1634"/>
                </a:moveTo>
                <a:lnTo>
                  <a:pt x="0" y="1089"/>
                </a:lnTo>
                <a:lnTo>
                  <a:pt x="1760" y="1089"/>
                </a:lnTo>
                <a:lnTo>
                  <a:pt x="1760" y="544"/>
                </a:lnTo>
                <a:lnTo>
                  <a:pt x="3520" y="544"/>
                </a:lnTo>
                <a:lnTo>
                  <a:pt x="3520" y="0"/>
                </a:lnTo>
                <a:lnTo>
                  <a:pt x="5280" y="0"/>
                </a:lnTo>
              </a:path>
            </a:pathLst>
          </a:custGeom>
          <a:noFill/>
          <a:ln w="9525" cap="rnd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 defTabSz="685800">
              <a:defRPr/>
            </a:pPr>
            <a:endParaRPr lang="en-US" sz="1350" kern="0" dirty="0">
              <a:solidFill>
                <a:prstClr val="black"/>
              </a:solidFill>
            </a:endParaRPr>
          </a:p>
        </p:txBody>
      </p:sp>
      <p:sp>
        <p:nvSpPr>
          <p:cNvPr id="16" name="Text Box 6">
            <a:extLst>
              <a:ext uri="{FF2B5EF4-FFF2-40B4-BE49-F238E27FC236}">
                <a16:creationId xmlns:a16="http://schemas.microsoft.com/office/drawing/2014/main" id="{1A07897B-57C8-4C39-AADB-282A244123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10987" y="3513000"/>
            <a:ext cx="2486025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3*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CE10A04-B818-4A76-B304-B20DAA4838F5}"/>
              </a:ext>
            </a:extLst>
          </p:cNvPr>
          <p:cNvSpPr txBox="1"/>
          <p:nvPr/>
        </p:nvSpPr>
        <p:spPr>
          <a:xfrm>
            <a:off x="3283277" y="4248246"/>
            <a:ext cx="248602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“</a:t>
            </a:r>
            <a:r>
              <a:rPr lang="en-US" sz="825" b="1" i="1" kern="0" dirty="0">
                <a:solidFill>
                  <a:srgbClr val="313131"/>
                </a:solidFill>
              </a:rPr>
              <a:t>Design Treatment” - </a:t>
            </a:r>
            <a:r>
              <a:rPr lang="en-US" sz="825" kern="0" dirty="0">
                <a:solidFill>
                  <a:srgbClr val="313131"/>
                </a:solidFill>
              </a:rPr>
              <a:t>Categorical or Numeric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1653F06-0C36-4048-B4A3-797AF8508B35}"/>
              </a:ext>
            </a:extLst>
          </p:cNvPr>
          <p:cNvSpPr txBox="1"/>
          <p:nvPr/>
        </p:nvSpPr>
        <p:spPr>
          <a:xfrm>
            <a:off x="5910987" y="3704981"/>
            <a:ext cx="2486025" cy="3180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“</a:t>
            </a:r>
            <a:r>
              <a:rPr lang="en-US" sz="825" b="1" i="1" kern="0" dirty="0">
                <a:solidFill>
                  <a:srgbClr val="313131"/>
                </a:solidFill>
              </a:rPr>
              <a:t>Prepare</a:t>
            </a:r>
            <a:r>
              <a:rPr lang="en-US" sz="825" kern="0" dirty="0">
                <a:solidFill>
                  <a:srgbClr val="313131"/>
                </a:solidFill>
              </a:rPr>
              <a:t>” Data into a treated Modeling Matrix</a:t>
            </a:r>
          </a:p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*</a:t>
            </a:r>
            <a:r>
              <a:rPr lang="en-US" sz="825" i="1" kern="0" dirty="0">
                <a:solidFill>
                  <a:srgbClr val="313131"/>
                </a:solidFill>
              </a:rPr>
              <a:t>abridged data show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91C62C4-9824-47F1-AF75-E91D86E4DA56}"/>
              </a:ext>
            </a:extLst>
          </p:cNvPr>
          <p:cNvSpPr/>
          <p:nvPr/>
        </p:nvSpPr>
        <p:spPr>
          <a:xfrm>
            <a:off x="3258691" y="4408477"/>
            <a:ext cx="2481672" cy="36933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en-US" sz="900" dirty="0" err="1">
                <a:latin typeface="Consolas" panose="020B0609020204030204" pitchFamily="49" charset="0"/>
              </a:rPr>
              <a:t>treatmentsN</a:t>
            </a:r>
            <a:r>
              <a:rPr lang="en-US" sz="900" dirty="0">
                <a:latin typeface="Consolas" panose="020B0609020204030204" pitchFamily="49" charset="0"/>
              </a:rPr>
              <a:t> &lt;- </a:t>
            </a:r>
            <a:r>
              <a:rPr lang="en-US" sz="900" dirty="0" err="1">
                <a:latin typeface="Consolas" panose="020B0609020204030204" pitchFamily="49" charset="0"/>
              </a:rPr>
              <a:t>designTreatmentsN</a:t>
            </a:r>
            <a:r>
              <a:rPr lang="en-US" sz="900" dirty="0">
                <a:latin typeface="Consolas" panose="020B0609020204030204" pitchFamily="49" charset="0"/>
              </a:rPr>
              <a:t>(...)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C9EF8BC-0250-44E9-8485-F44DB9433511}"/>
              </a:ext>
            </a:extLst>
          </p:cNvPr>
          <p:cNvSpPr txBox="1"/>
          <p:nvPr/>
        </p:nvSpPr>
        <p:spPr>
          <a:xfrm>
            <a:off x="3207859" y="2704057"/>
            <a:ext cx="24768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dirty="0">
                <a:solidFill>
                  <a:schemeClr val="tx2"/>
                </a:solidFill>
              </a:rPr>
              <a:t>Cat P (Prevalence):</a:t>
            </a:r>
          </a:p>
          <a:p>
            <a:r>
              <a:rPr lang="en-US" sz="1200" dirty="0">
                <a:solidFill>
                  <a:schemeClr val="tx2"/>
                </a:solidFill>
              </a:rPr>
              <a:t>Level C Occurred (2/7) = 0.2857143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DEDB49D-2D6F-4473-803A-978A5CA28E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5432" y="2962248"/>
            <a:ext cx="589276" cy="148546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A0BE6702-63DA-4D08-A414-CB47F25573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7081" y="2217270"/>
            <a:ext cx="2332247" cy="1079387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890F8E62-EE23-4EC7-9C98-A12F196BC122}"/>
              </a:ext>
            </a:extLst>
          </p:cNvPr>
          <p:cNvSpPr txBox="1"/>
          <p:nvPr/>
        </p:nvSpPr>
        <p:spPr>
          <a:xfrm>
            <a:off x="3359227" y="1283282"/>
            <a:ext cx="22568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>
                <a:solidFill>
                  <a:schemeClr val="tx2"/>
                </a:solidFill>
              </a:rPr>
              <a:t>Simple Calculati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393F374-36CB-4C22-8880-1C05A72B51A6}"/>
              </a:ext>
            </a:extLst>
          </p:cNvPr>
          <p:cNvSpPr/>
          <p:nvPr/>
        </p:nvSpPr>
        <p:spPr>
          <a:xfrm>
            <a:off x="3148498" y="1283282"/>
            <a:ext cx="2591865" cy="26038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ooter Placeholder 5">
            <a:extLst>
              <a:ext uri="{FF2B5EF4-FFF2-40B4-BE49-F238E27FC236}">
                <a16:creationId xmlns:a16="http://schemas.microsoft.com/office/drawing/2014/main" id="{3BD28E5E-FADE-CE46-8F7E-B70DA51B06DD}"/>
              </a:ext>
            </a:extLst>
          </p:cNvPr>
          <p:cNvSpPr txBox="1">
            <a:spLocks/>
          </p:cNvSpPr>
          <p:nvPr/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prstClr val="black">
                    <a:tint val="75000"/>
                  </a:prstClr>
                </a:solidFill>
              </a:rPr>
              <a:t>Kwartler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A193871-EAF4-0D49-AF10-15D18E01E9D6}"/>
              </a:ext>
            </a:extLst>
          </p:cNvPr>
          <p:cNvSpPr/>
          <p:nvPr/>
        </p:nvSpPr>
        <p:spPr>
          <a:xfrm>
            <a:off x="5997678" y="3047985"/>
            <a:ext cx="816077" cy="233516"/>
          </a:xfrm>
          <a:prstGeom prst="ellipse">
            <a:avLst/>
          </a:prstGeom>
          <a:noFill/>
          <a:ln w="285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9E5977-9F81-AE40-85E0-50D6C0F94FA3}"/>
              </a:ext>
            </a:extLst>
          </p:cNvPr>
          <p:cNvSpPr/>
          <p:nvPr/>
        </p:nvSpPr>
        <p:spPr>
          <a:xfrm>
            <a:off x="1778000" y="3606916"/>
            <a:ext cx="172720" cy="19304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4824C0A-66E7-4F46-85D6-71C2AEFDB257}"/>
              </a:ext>
            </a:extLst>
          </p:cNvPr>
          <p:cNvSpPr/>
          <p:nvPr/>
        </p:nvSpPr>
        <p:spPr>
          <a:xfrm>
            <a:off x="1808480" y="4257156"/>
            <a:ext cx="121920" cy="182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0AE5E1E-9D9E-9B4D-AE12-D9E1AA739BC7}"/>
              </a:ext>
            </a:extLst>
          </p:cNvPr>
          <p:cNvSpPr txBox="1"/>
          <p:nvPr/>
        </p:nvSpPr>
        <p:spPr>
          <a:xfrm>
            <a:off x="5981539" y="1203557"/>
            <a:ext cx="24734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dirty="0">
                <a:solidFill>
                  <a:schemeClr val="tx2"/>
                </a:solidFill>
              </a:rPr>
              <a:t>How </a:t>
            </a:r>
            <a:r>
              <a:rPr lang="en-US" sz="1200" b="1" u="sng" dirty="0" err="1">
                <a:solidFill>
                  <a:schemeClr val="tx2"/>
                </a:solidFill>
              </a:rPr>
              <a:t>prevelant</a:t>
            </a:r>
            <a:r>
              <a:rPr lang="en-US" sz="1200" b="1" u="sng" dirty="0">
                <a:solidFill>
                  <a:schemeClr val="tx2"/>
                </a:solidFill>
              </a:rPr>
              <a:t> is C among all observations i.e. is it a rare event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52DB9D4-E9DC-1A7B-B095-4E53779B80F9}"/>
              </a:ext>
            </a:extLst>
          </p:cNvPr>
          <p:cNvSpPr/>
          <p:nvPr/>
        </p:nvSpPr>
        <p:spPr>
          <a:xfrm>
            <a:off x="537163" y="5844583"/>
            <a:ext cx="8345579" cy="230832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For each category level, </a:t>
            </a:r>
            <a:r>
              <a:rPr lang="en-US" sz="900" dirty="0" err="1">
                <a:solidFill>
                  <a:schemeClr val="bg1"/>
                </a:solidFill>
                <a:latin typeface="Consolas" panose="020B0609020204030204" pitchFamily="49" charset="0"/>
              </a:rPr>
              <a:t>whats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the natural propensity for success.</a:t>
            </a:r>
          </a:p>
        </p:txBody>
      </p:sp>
    </p:spTree>
    <p:extLst>
      <p:ext uri="{BB962C8B-B14F-4D97-AF65-F5344CB8AC3E}">
        <p14:creationId xmlns:p14="http://schemas.microsoft.com/office/powerpoint/2010/main" val="16543421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9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22" grpId="0" animBg="1"/>
      <p:bldP spid="22" grpId="1" animBg="1"/>
      <p:bldP spid="25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3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Informative Che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395716" y="1243016"/>
          <a:ext cx="829108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91335">
                  <a:extLst>
                    <a:ext uri="{9D8B030D-6E8A-4147-A177-3AD203B41FA5}">
                      <a16:colId xmlns:a16="http://schemas.microsoft.com/office/drawing/2014/main" val="1410238479"/>
                    </a:ext>
                  </a:extLst>
                </a:gridCol>
                <a:gridCol w="4399749">
                  <a:extLst>
                    <a:ext uri="{9D8B030D-6E8A-4147-A177-3AD203B41FA5}">
                      <a16:colId xmlns:a16="http://schemas.microsoft.com/office/drawing/2014/main" val="28691761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dirty="0" err="1"/>
                        <a:t>Vtreat</a:t>
                      </a:r>
                      <a:r>
                        <a:rPr lang="en-US" sz="1200" baseline="0" dirty="0"/>
                        <a:t> Action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mmon Na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67730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Constant/Near Consta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uppress</a:t>
                      </a:r>
                      <a:r>
                        <a:rPr lang="en-US" sz="1200" baseline="0" dirty="0"/>
                        <a:t> uninformative variables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4644530"/>
                  </a:ext>
                </a:extLst>
              </a:tr>
            </a:tbl>
          </a:graphicData>
        </a:graphic>
      </p:graphicFrame>
      <p:sp>
        <p:nvSpPr>
          <p:cNvPr id="7" name="Isosceles Triangle 6"/>
          <p:cNvSpPr/>
          <p:nvPr/>
        </p:nvSpPr>
        <p:spPr>
          <a:xfrm rot="5400000">
            <a:off x="1072052" y="3812956"/>
            <a:ext cx="1994335" cy="260131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238699" y="3619856"/>
            <a:ext cx="21756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In this fake example, since z contains a constant value an algorithm can’t learn from it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865" y="2793781"/>
            <a:ext cx="1379088" cy="2298481"/>
          </a:xfrm>
          <a:prstGeom prst="rect">
            <a:avLst/>
          </a:prstGeom>
        </p:spPr>
      </p:pic>
      <p:sp>
        <p:nvSpPr>
          <p:cNvPr id="10" name="Isosceles Triangle 9"/>
          <p:cNvSpPr/>
          <p:nvPr/>
        </p:nvSpPr>
        <p:spPr>
          <a:xfrm rot="5400000">
            <a:off x="3352797" y="3812956"/>
            <a:ext cx="1994335" cy="260131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7940" y="3413398"/>
            <a:ext cx="4075794" cy="1059246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698124" y="3011214"/>
            <a:ext cx="3815255" cy="26801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Z is automatically dropped.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935AAF42-A5BB-124B-9B2D-1E698B9CD1BB}"/>
              </a:ext>
            </a:extLst>
          </p:cNvPr>
          <p:cNvSpPr txBox="1">
            <a:spLocks/>
          </p:cNvSpPr>
          <p:nvPr/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prstClr val="black">
                    <a:tint val="75000"/>
                  </a:prstClr>
                </a:solidFill>
              </a:rPr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53682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12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10A6E8-290C-4B3B-9AC0-A3898B403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treat</a:t>
            </a:r>
            <a:r>
              <a:rPr lang="en-US" dirty="0"/>
              <a:t> adjusts data in many ways.</a:t>
            </a:r>
          </a:p>
        </p:txBody>
      </p:sp>
      <p:graphicFrame>
        <p:nvGraphicFramePr>
          <p:cNvPr id="3" name="Group 3">
            <a:extLst>
              <a:ext uri="{FF2B5EF4-FFF2-40B4-BE49-F238E27FC236}">
                <a16:creationId xmlns:a16="http://schemas.microsoft.com/office/drawing/2014/main" id="{6F18B3D8-EB75-4D4C-96D6-B7DE4A1160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6436958"/>
              </p:ext>
            </p:extLst>
          </p:nvPr>
        </p:nvGraphicFramePr>
        <p:xfrm>
          <a:off x="274462" y="1417638"/>
          <a:ext cx="8489865" cy="4005834"/>
        </p:xfrm>
        <a:graphic>
          <a:graphicData uri="http://schemas.openxmlformats.org/drawingml/2006/table">
            <a:tbl>
              <a:tblPr/>
              <a:tblGrid>
                <a:gridCol w="2646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0122">
                  <a:extLst>
                    <a:ext uri="{9D8B030D-6E8A-4147-A177-3AD203B41FA5}">
                      <a16:colId xmlns:a16="http://schemas.microsoft.com/office/drawing/2014/main" val="3943134416"/>
                    </a:ext>
                  </a:extLst>
                </a:gridCol>
                <a:gridCol w="50136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0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lnSpc>
                          <a:spcPct val="11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+mn-lt"/>
                        </a:rPr>
                        <a:t>Action</a:t>
                      </a:r>
                    </a:p>
                  </a:txBody>
                  <a:tcPr marL="68580" marR="68580" marT="68580" marB="68580" anchor="ctr">
                    <a:lnL w="12700" cmpd="sng">
                      <a:noFill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1D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100" b="1" dirty="0">
                          <a:solidFill>
                            <a:schemeClr val="bg1"/>
                          </a:solidFill>
                          <a:latin typeface="+mn-lt"/>
                        </a:rPr>
                        <a:t>Type</a:t>
                      </a:r>
                    </a:p>
                  </a:txBody>
                  <a:tcPr marL="68580" marR="68580" marT="68580" marB="68580"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1D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100" b="1" dirty="0">
                          <a:solidFill>
                            <a:schemeClr val="bg1"/>
                          </a:solidFill>
                          <a:latin typeface="+mn-lt"/>
                        </a:rPr>
                        <a:t>Description</a:t>
                      </a:r>
                    </a:p>
                  </a:txBody>
                  <a:tcPr marL="68580" marR="68580" marT="68580" marB="68580"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1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0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</a:rPr>
                        <a:t>Imputation</a:t>
                      </a:r>
                      <a:endParaRPr kumimoji="0" lang="en-US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lean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, Nan, Inf replacement with mean 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0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Imputation Indicator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lean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pend a binary column as imputation fla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0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</a:rPr>
                        <a:t>Dummy Variables</a:t>
                      </a:r>
                      <a:endParaRPr kumimoji="0" lang="en-US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lean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reate dummy variables for categorical variables</a:t>
                      </a:r>
                      <a:endParaRPr kumimoji="0" lang="en-GB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04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Constant Attribute Suppression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lean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move variables with a single value.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8167695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evel Deviation –”</a:t>
                      </a:r>
                      <a:r>
                        <a:rPr kumimoji="0" lang="en-US" sz="105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cat_D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”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ngineer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“deviation fact” about a categorical level. Tells us if ‘y’ is concentrated or diffuse when conditioned on the observed level of the original categorical variable. </a:t>
                      </a:r>
                      <a:endParaRPr kumimoji="0" lang="en-GB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9112594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evel Prevalence- “</a:t>
                      </a:r>
                      <a:r>
                        <a:rPr kumimoji="0" lang="en-US" sz="105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cat_P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”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ngineer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“prevalence fact” about a categorical level. Tells us if the original level was rare or common. </a:t>
                      </a:r>
                      <a:endParaRPr kumimoji="0" lang="en-GB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636004"/>
                  </a:ext>
                </a:extLst>
              </a:tr>
              <a:tr h="86934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Estimated Single Variable Effects –</a:t>
                      </a:r>
                    </a:p>
                    <a:p>
                      <a:pPr marL="517525" marR="0" lvl="1" indent="-6032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“</a:t>
                      </a:r>
                      <a:r>
                        <a:rPr kumimoji="0" lang="en-US" sz="105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cat_B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” = categorical outcome w/Bayesian</a:t>
                      </a:r>
                    </a:p>
                    <a:p>
                      <a:pPr marL="517525" marR="0" lvl="1" indent="-6032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“</a:t>
                      </a:r>
                      <a:r>
                        <a:rPr kumimoji="0" lang="en-US" sz="105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cat_N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” = numeric outcome w/Regression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ngineer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single variable Bayesian model of the change in logit-odds in outcome from mean distribution conditioned on the observed value of the original variable.</a:t>
                      </a:r>
                    </a:p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single variable regression model of the difference in outcome expectation conditioned on the observed value of the original variable.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428380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Rare Cats*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ngineer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2"/>
                          </a:solidFill>
                        </a:rPr>
                        <a:t>For categorical levels below a frequency threshold, pool different levels into a common “rare-level” variable</a:t>
                      </a:r>
                      <a:endParaRPr kumimoji="0" lang="en-GB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467917"/>
                  </a:ext>
                </a:extLst>
              </a:tr>
            </a:tbl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65465BB-00FC-6603-ACB9-436A886EAF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2127191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3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Why is Feature Engineering &amp; Enrichment Effectiv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0" y="2087433"/>
                <a:ext cx="9088770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pt-BR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𝑀𝑜𝑑𝑒𝑙𝑖𝑛𝑔</m:t>
                          </m:r>
                          <m:r>
                            <a:rPr lang="en-US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2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𝑅𝑒𝑠𝑢𝑙𝑡𝑠</m:t>
                          </m:r>
                        </m:e>
                      </m:d>
                      <m:r>
                        <a:rPr lang="pt-BR" sz="2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2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𝐴𝑙𝑔𝑜</m:t>
                      </m:r>
                      <m:r>
                        <a:rPr lang="en-US" sz="2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𝑃𝑎𝑟𝑎𝑚𝑒𝑡𝑒𝑟𝑠</m:t>
                      </m:r>
                      <m:r>
                        <a:rPr lang="en-US" sz="2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𝐷𝑎𝑡𝑎</m:t>
                      </m:r>
                      <m:r>
                        <a:rPr lang="en-US" sz="2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𝑝𝑟𝑜𝑣𝑖𝑑𝑒𝑑</m:t>
                      </m:r>
                    </m:oMath>
                  </m:oMathPara>
                </a14:m>
                <a:endParaRPr lang="en-US" sz="2400" dirty="0">
                  <a:solidFill>
                    <a:prstClr val="black"/>
                  </a:solidFill>
                </a:endParaRPr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2087433"/>
                <a:ext cx="9088770" cy="461665"/>
              </a:xfrm>
              <a:prstGeom prst="rect">
                <a:avLst/>
              </a:prstGeom>
              <a:blipFill rotWithShape="0">
                <a:blip r:embed="rId2"/>
                <a:stretch>
                  <a:fillRect b="-171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/>
          <p:cNvSpPr txBox="1"/>
          <p:nvPr/>
        </p:nvSpPr>
        <p:spPr>
          <a:xfrm>
            <a:off x="419100" y="3509665"/>
            <a:ext cx="8305800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Better features means </a:t>
            </a:r>
            <a:r>
              <a:rPr lang="en-US" b="1" dirty="0">
                <a:solidFill>
                  <a:prstClr val="black"/>
                </a:solidFill>
              </a:rPr>
              <a:t>flexibility</a:t>
            </a:r>
            <a:r>
              <a:rPr lang="en-US" dirty="0">
                <a:solidFill>
                  <a:prstClr val="black"/>
                </a:solidFill>
              </a:rPr>
              <a:t>.</a:t>
            </a:r>
          </a:p>
          <a:p>
            <a:pPr marL="569913" lvl="1" indent="-112713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less than optimal models can still yield good results</a:t>
            </a:r>
          </a:p>
          <a:p>
            <a:endParaRPr lang="en-US" sz="1400" dirty="0">
              <a:solidFill>
                <a:prstClr val="black"/>
              </a:solidFill>
            </a:endParaRP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Betters features means </a:t>
            </a:r>
            <a:r>
              <a:rPr lang="en-US" b="1" dirty="0">
                <a:solidFill>
                  <a:prstClr val="black"/>
                </a:solidFill>
              </a:rPr>
              <a:t>simpler models</a:t>
            </a:r>
            <a:r>
              <a:rPr lang="en-US" dirty="0">
                <a:solidFill>
                  <a:prstClr val="black"/>
                </a:solidFill>
              </a:rPr>
              <a:t>. </a:t>
            </a:r>
          </a:p>
          <a:p>
            <a:pPr marL="569913" lvl="1" indent="-112713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less than optimal parameters can still yield good results</a:t>
            </a:r>
          </a:p>
          <a:p>
            <a:endParaRPr lang="en-US" sz="1400" dirty="0">
              <a:solidFill>
                <a:prstClr val="black"/>
              </a:solidFill>
            </a:endParaRP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Better features means </a:t>
            </a:r>
            <a:r>
              <a:rPr lang="en-US" b="1" dirty="0">
                <a:solidFill>
                  <a:prstClr val="black"/>
                </a:solidFill>
              </a:rPr>
              <a:t>better results. </a:t>
            </a:r>
          </a:p>
          <a:p>
            <a:pPr marL="569913" lvl="1" indent="-112713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“</a:t>
            </a:r>
            <a:r>
              <a:rPr lang="en-US" sz="1400" i="1" dirty="0">
                <a:solidFill>
                  <a:prstClr val="black"/>
                </a:solidFill>
              </a:rPr>
              <a:t>The algorithms we used are very standard for </a:t>
            </a:r>
            <a:r>
              <a:rPr lang="en-US" sz="1400" i="1" dirty="0" err="1">
                <a:solidFill>
                  <a:prstClr val="black"/>
                </a:solidFill>
              </a:rPr>
              <a:t>Kagglers</a:t>
            </a:r>
            <a:r>
              <a:rPr lang="en-US" sz="1400" i="1" dirty="0">
                <a:solidFill>
                  <a:prstClr val="black"/>
                </a:solidFill>
              </a:rPr>
              <a:t>. We spent most of our efforts in feature engineering.” Xavier </a:t>
            </a:r>
            <a:r>
              <a:rPr lang="en-US" sz="1400" i="1" dirty="0" err="1">
                <a:solidFill>
                  <a:prstClr val="black"/>
                </a:solidFill>
              </a:rPr>
              <a:t>Conort</a:t>
            </a:r>
            <a:r>
              <a:rPr lang="en-US" sz="1400" i="1" dirty="0">
                <a:solidFill>
                  <a:prstClr val="black"/>
                </a:solidFill>
              </a:rPr>
              <a:t> describing his winning “Flight Quest” submission</a:t>
            </a:r>
          </a:p>
          <a:p>
            <a:pPr marL="569913" lvl="1" indent="-112713">
              <a:buFont typeface="Arial" panose="020B0604020202020204" pitchFamily="34" charset="0"/>
              <a:buChar char="•"/>
            </a:pPr>
            <a:r>
              <a:rPr lang="en-US" sz="1400" i="1" dirty="0">
                <a:solidFill>
                  <a:prstClr val="black"/>
                </a:solidFill>
              </a:rPr>
              <a:t>Way to differentiate &amp; squeeze out more accuracy</a:t>
            </a:r>
            <a:endParaRPr lang="en-US" sz="1400" dirty="0">
              <a:solidFill>
                <a:prstClr val="black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" y="3276600"/>
            <a:ext cx="82296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861B9ADA-366A-C94B-ABA9-C65E4E37BDB9}"/>
              </a:ext>
            </a:extLst>
          </p:cNvPr>
          <p:cNvSpPr txBox="1">
            <a:spLocks/>
          </p:cNvSpPr>
          <p:nvPr/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prstClr val="black">
                    <a:tint val="75000"/>
                  </a:prstClr>
                </a:solidFill>
              </a:rPr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21731527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3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515350" cy="591477"/>
          </a:xfrm>
        </p:spPr>
        <p:txBody>
          <a:bodyPr/>
          <a:lstStyle/>
          <a:p>
            <a:r>
              <a:rPr lang="en-US" dirty="0"/>
              <a:t>Data Enrichment aids Model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62606" y="1277007"/>
            <a:ext cx="8387255" cy="8040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Feature Enrichment is the act of adding new information to your dataset.  You are enriching your existing data, often with public or 3</a:t>
            </a:r>
            <a:r>
              <a:rPr lang="en-US" baseline="30000" dirty="0">
                <a:solidFill>
                  <a:prstClr val="white"/>
                </a:solidFill>
              </a:rPr>
              <a:t>rd</a:t>
            </a:r>
            <a:r>
              <a:rPr lang="en-US" dirty="0">
                <a:solidFill>
                  <a:prstClr val="white"/>
                </a:solidFill>
              </a:rPr>
              <a:t> party data.  </a:t>
            </a:r>
          </a:p>
        </p:txBody>
      </p:sp>
      <p:sp>
        <p:nvSpPr>
          <p:cNvPr id="7" name="Rectangle 6"/>
          <p:cNvSpPr/>
          <p:nvPr/>
        </p:nvSpPr>
        <p:spPr>
          <a:xfrm>
            <a:off x="357350" y="5565228"/>
            <a:ext cx="8387255" cy="6095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There are limits to what an organization has internally for data.</a:t>
            </a:r>
          </a:p>
          <a:p>
            <a:pPr algn="ctr"/>
            <a:r>
              <a:rPr lang="en-US" dirty="0">
                <a:solidFill>
                  <a:prstClr val="white"/>
                </a:solidFill>
              </a:rPr>
              <a:t> Companies exist solely to enrich data sources. </a:t>
            </a:r>
          </a:p>
        </p:txBody>
      </p:sp>
      <p:sp>
        <p:nvSpPr>
          <p:cNvPr id="13" name="Freeform 12"/>
          <p:cNvSpPr/>
          <p:nvPr/>
        </p:nvSpPr>
        <p:spPr>
          <a:xfrm>
            <a:off x="4001069" y="3124173"/>
            <a:ext cx="311624" cy="1055483"/>
          </a:xfrm>
          <a:custGeom>
            <a:avLst/>
            <a:gdLst>
              <a:gd name="connsiteX0" fmla="*/ 148212 w 311624"/>
              <a:gd name="connsiteY0" fmla="*/ 0 h 1055483"/>
              <a:gd name="connsiteX1" fmla="*/ 193848 w 311624"/>
              <a:gd name="connsiteY1" fmla="*/ 75121 h 1055483"/>
              <a:gd name="connsiteX2" fmla="*/ 311624 w 311624"/>
              <a:gd name="connsiteY2" fmla="*/ 540252 h 1055483"/>
              <a:gd name="connsiteX3" fmla="*/ 193848 w 311624"/>
              <a:gd name="connsiteY3" fmla="*/ 1005383 h 1055483"/>
              <a:gd name="connsiteX4" fmla="*/ 163412 w 311624"/>
              <a:gd name="connsiteY4" fmla="*/ 1055483 h 1055483"/>
              <a:gd name="connsiteX5" fmla="*/ 117776 w 311624"/>
              <a:gd name="connsiteY5" fmla="*/ 980362 h 1055483"/>
              <a:gd name="connsiteX6" fmla="*/ 0 w 311624"/>
              <a:gd name="connsiteY6" fmla="*/ 515231 h 1055483"/>
              <a:gd name="connsiteX7" fmla="*/ 117776 w 311624"/>
              <a:gd name="connsiteY7" fmla="*/ 50100 h 1055483"/>
              <a:gd name="connsiteX8" fmla="*/ 148212 w 311624"/>
              <a:gd name="connsiteY8" fmla="*/ 0 h 1055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1624" h="1055483">
                <a:moveTo>
                  <a:pt x="148212" y="0"/>
                </a:moveTo>
                <a:lnTo>
                  <a:pt x="193848" y="75121"/>
                </a:lnTo>
                <a:cubicBezTo>
                  <a:pt x="268960" y="213387"/>
                  <a:pt x="311624" y="371837"/>
                  <a:pt x="311624" y="540252"/>
                </a:cubicBezTo>
                <a:cubicBezTo>
                  <a:pt x="311624" y="708667"/>
                  <a:pt x="268960" y="867117"/>
                  <a:pt x="193848" y="1005383"/>
                </a:cubicBezTo>
                <a:lnTo>
                  <a:pt x="163412" y="1055483"/>
                </a:lnTo>
                <a:lnTo>
                  <a:pt x="117776" y="980362"/>
                </a:lnTo>
                <a:cubicBezTo>
                  <a:pt x="42665" y="842096"/>
                  <a:pt x="0" y="683646"/>
                  <a:pt x="0" y="515231"/>
                </a:cubicBezTo>
                <a:cubicBezTo>
                  <a:pt x="0" y="346816"/>
                  <a:pt x="42665" y="188366"/>
                  <a:pt x="117776" y="50100"/>
                </a:cubicBezTo>
                <a:lnTo>
                  <a:pt x="148212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4149281" y="2663588"/>
            <a:ext cx="1803418" cy="1951630"/>
          </a:xfrm>
          <a:custGeom>
            <a:avLst/>
            <a:gdLst>
              <a:gd name="connsiteX0" fmla="*/ 827603 w 1803418"/>
              <a:gd name="connsiteY0" fmla="*/ 0 h 1951630"/>
              <a:gd name="connsiteX1" fmla="*/ 1803418 w 1803418"/>
              <a:gd name="connsiteY1" fmla="*/ 975815 h 1951630"/>
              <a:gd name="connsiteX2" fmla="*/ 827603 w 1803418"/>
              <a:gd name="connsiteY2" fmla="*/ 1951630 h 1951630"/>
              <a:gd name="connsiteX3" fmla="*/ 18442 w 1803418"/>
              <a:gd name="connsiteY3" fmla="*/ 1521403 h 1951630"/>
              <a:gd name="connsiteX4" fmla="*/ 15200 w 1803418"/>
              <a:gd name="connsiteY4" fmla="*/ 1516067 h 1951630"/>
              <a:gd name="connsiteX5" fmla="*/ 45636 w 1803418"/>
              <a:gd name="connsiteY5" fmla="*/ 1465967 h 1951630"/>
              <a:gd name="connsiteX6" fmla="*/ 163412 w 1803418"/>
              <a:gd name="connsiteY6" fmla="*/ 1000836 h 1951630"/>
              <a:gd name="connsiteX7" fmla="*/ 45636 w 1803418"/>
              <a:gd name="connsiteY7" fmla="*/ 535705 h 1951630"/>
              <a:gd name="connsiteX8" fmla="*/ 0 w 1803418"/>
              <a:gd name="connsiteY8" fmla="*/ 460584 h 1951630"/>
              <a:gd name="connsiteX9" fmla="*/ 18442 w 1803418"/>
              <a:gd name="connsiteY9" fmla="*/ 430227 h 1951630"/>
              <a:gd name="connsiteX10" fmla="*/ 827603 w 1803418"/>
              <a:gd name="connsiteY10" fmla="*/ 0 h 1951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03418" h="1951630">
                <a:moveTo>
                  <a:pt x="827603" y="0"/>
                </a:moveTo>
                <a:cubicBezTo>
                  <a:pt x="1366531" y="0"/>
                  <a:pt x="1803418" y="436887"/>
                  <a:pt x="1803418" y="975815"/>
                </a:cubicBezTo>
                <a:cubicBezTo>
                  <a:pt x="1803418" y="1514743"/>
                  <a:pt x="1366531" y="1951630"/>
                  <a:pt x="827603" y="1951630"/>
                </a:cubicBezTo>
                <a:cubicBezTo>
                  <a:pt x="490773" y="1951630"/>
                  <a:pt x="193803" y="1780971"/>
                  <a:pt x="18442" y="1521403"/>
                </a:cubicBezTo>
                <a:lnTo>
                  <a:pt x="15200" y="1516067"/>
                </a:lnTo>
                <a:lnTo>
                  <a:pt x="45636" y="1465967"/>
                </a:lnTo>
                <a:cubicBezTo>
                  <a:pt x="120748" y="1327701"/>
                  <a:pt x="163412" y="1169251"/>
                  <a:pt x="163412" y="1000836"/>
                </a:cubicBezTo>
                <a:cubicBezTo>
                  <a:pt x="163412" y="832421"/>
                  <a:pt x="120748" y="673971"/>
                  <a:pt x="45636" y="535705"/>
                </a:cubicBezTo>
                <a:lnTo>
                  <a:pt x="0" y="460584"/>
                </a:lnTo>
                <a:lnTo>
                  <a:pt x="18442" y="430227"/>
                </a:lnTo>
                <a:cubicBezTo>
                  <a:pt x="193803" y="170659"/>
                  <a:pt x="490773" y="0"/>
                  <a:pt x="827603" y="0"/>
                </a:cubicBezTo>
                <a:close/>
              </a:path>
            </a:pathLst>
          </a:cu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New Data</a:t>
            </a:r>
          </a:p>
        </p:txBody>
      </p:sp>
      <p:sp>
        <p:nvSpPr>
          <p:cNvPr id="11" name="Freeform 10"/>
          <p:cNvSpPr/>
          <p:nvPr/>
        </p:nvSpPr>
        <p:spPr>
          <a:xfrm>
            <a:off x="2361063" y="2688609"/>
            <a:ext cx="1803418" cy="1951630"/>
          </a:xfrm>
          <a:custGeom>
            <a:avLst/>
            <a:gdLst>
              <a:gd name="connsiteX0" fmla="*/ 975815 w 1803418"/>
              <a:gd name="connsiteY0" fmla="*/ 0 h 1951630"/>
              <a:gd name="connsiteX1" fmla="*/ 1784976 w 1803418"/>
              <a:gd name="connsiteY1" fmla="*/ 430227 h 1951630"/>
              <a:gd name="connsiteX2" fmla="*/ 1788218 w 1803418"/>
              <a:gd name="connsiteY2" fmla="*/ 435563 h 1951630"/>
              <a:gd name="connsiteX3" fmla="*/ 1757782 w 1803418"/>
              <a:gd name="connsiteY3" fmla="*/ 485663 h 1951630"/>
              <a:gd name="connsiteX4" fmla="*/ 1640006 w 1803418"/>
              <a:gd name="connsiteY4" fmla="*/ 950794 h 1951630"/>
              <a:gd name="connsiteX5" fmla="*/ 1757782 w 1803418"/>
              <a:gd name="connsiteY5" fmla="*/ 1415925 h 1951630"/>
              <a:gd name="connsiteX6" fmla="*/ 1803418 w 1803418"/>
              <a:gd name="connsiteY6" fmla="*/ 1491046 h 1951630"/>
              <a:gd name="connsiteX7" fmla="*/ 1784976 w 1803418"/>
              <a:gd name="connsiteY7" fmla="*/ 1521403 h 1951630"/>
              <a:gd name="connsiteX8" fmla="*/ 975815 w 1803418"/>
              <a:gd name="connsiteY8" fmla="*/ 1951630 h 1951630"/>
              <a:gd name="connsiteX9" fmla="*/ 0 w 1803418"/>
              <a:gd name="connsiteY9" fmla="*/ 975815 h 1951630"/>
              <a:gd name="connsiteX10" fmla="*/ 975815 w 1803418"/>
              <a:gd name="connsiteY10" fmla="*/ 0 h 1951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03418" h="1951630">
                <a:moveTo>
                  <a:pt x="975815" y="0"/>
                </a:moveTo>
                <a:cubicBezTo>
                  <a:pt x="1312645" y="0"/>
                  <a:pt x="1609615" y="170659"/>
                  <a:pt x="1784976" y="430227"/>
                </a:cubicBezTo>
                <a:lnTo>
                  <a:pt x="1788218" y="435563"/>
                </a:lnTo>
                <a:lnTo>
                  <a:pt x="1757782" y="485663"/>
                </a:lnTo>
                <a:cubicBezTo>
                  <a:pt x="1682671" y="623929"/>
                  <a:pt x="1640006" y="782379"/>
                  <a:pt x="1640006" y="950794"/>
                </a:cubicBezTo>
                <a:cubicBezTo>
                  <a:pt x="1640006" y="1119209"/>
                  <a:pt x="1682671" y="1277659"/>
                  <a:pt x="1757782" y="1415925"/>
                </a:cubicBezTo>
                <a:lnTo>
                  <a:pt x="1803418" y="1491046"/>
                </a:lnTo>
                <a:lnTo>
                  <a:pt x="1784976" y="1521403"/>
                </a:lnTo>
                <a:cubicBezTo>
                  <a:pt x="1609615" y="1780971"/>
                  <a:pt x="1312645" y="1951630"/>
                  <a:pt x="975815" y="1951630"/>
                </a:cubicBezTo>
                <a:cubicBezTo>
                  <a:pt x="436887" y="1951630"/>
                  <a:pt x="0" y="1514743"/>
                  <a:pt x="0" y="975815"/>
                </a:cubicBezTo>
                <a:cubicBezTo>
                  <a:pt x="0" y="436887"/>
                  <a:pt x="436887" y="0"/>
                  <a:pt x="975815" y="0"/>
                </a:cubicBezTo>
                <a:close/>
              </a:path>
            </a:pathLst>
          </a:cu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Existing Data</a:t>
            </a:r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C6046846-8544-5D48-864D-2AF66EB22C1C}"/>
              </a:ext>
            </a:extLst>
          </p:cNvPr>
          <p:cNvSpPr txBox="1">
            <a:spLocks/>
          </p:cNvSpPr>
          <p:nvPr/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prstClr val="black">
                    <a:tint val="75000"/>
                  </a:prstClr>
                </a:solidFill>
              </a:rPr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18627160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3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example of Data Enrich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26" name="Picture 2" descr="https://s3.amazonaws.com/cbi-research-portal-uploads/2018/06/07131832/demographics-vs-psychographics-06.07.2018-1021x1024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2390" y="1370345"/>
            <a:ext cx="3646884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5297213" y="5943628"/>
            <a:ext cx="384678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i="1" dirty="0">
                <a:solidFill>
                  <a:prstClr val="black"/>
                </a:solidFill>
              </a:rPr>
              <a:t>https://www.cbinsights.com/research/what-is-psychographics/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13423" y="2321982"/>
            <a:ext cx="240551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An organization may collect some information about employees during interac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52724" y="2183483"/>
            <a:ext cx="240551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They could buy data about employees to have a more complete pictur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13AF6996-8F53-6E42-BB46-170AA22B30B1}"/>
              </a:ext>
            </a:extLst>
          </p:cNvPr>
          <p:cNvSpPr txBox="1">
            <a:spLocks/>
          </p:cNvSpPr>
          <p:nvPr/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prstClr val="black">
                    <a:tint val="75000"/>
                  </a:prstClr>
                </a:solidFill>
              </a:rPr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366564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4D0A394D-5250-C030-DB2F-86E8C68724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3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Modeling with Feature Enrichment is Widespre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99698" y="5565228"/>
            <a:ext cx="8744605" cy="6095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Most consumers are not aware the type and amount of data that is available about them.</a:t>
            </a:r>
          </a:p>
        </p:txBody>
      </p:sp>
      <p:pic>
        <p:nvPicPr>
          <p:cNvPr id="2050" name="Picture 2" descr="Image result for cambridge analytica 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31" y="1449554"/>
            <a:ext cx="1662162" cy="1598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328737" y="1892968"/>
            <a:ext cx="5678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Used social media information of individual and friends to model voting tendencies</a:t>
            </a:r>
          </a:p>
        </p:txBody>
      </p:sp>
      <p:pic>
        <p:nvPicPr>
          <p:cNvPr id="2052" name="Picture 4" descr="Image result for evariant 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912" y="3867985"/>
            <a:ext cx="2743200" cy="785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3328737" y="3954378"/>
            <a:ext cx="5678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Uses 3</a:t>
            </a:r>
            <a:r>
              <a:rPr lang="en-US" baseline="30000" dirty="0">
                <a:solidFill>
                  <a:prstClr val="black"/>
                </a:solidFill>
              </a:rPr>
              <a:t>rd</a:t>
            </a:r>
            <a:r>
              <a:rPr lang="en-US" dirty="0">
                <a:solidFill>
                  <a:prstClr val="black"/>
                </a:solidFill>
              </a:rPr>
              <a:t> party data to predict if a household member has diabetes for marketing.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770021" y="3433011"/>
            <a:ext cx="755583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5FB29C94-8F78-354E-8970-573C23894485}"/>
              </a:ext>
            </a:extLst>
          </p:cNvPr>
          <p:cNvSpPr txBox="1">
            <a:spLocks/>
          </p:cNvSpPr>
          <p:nvPr/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>
                <a:solidFill>
                  <a:prstClr val="black">
                    <a:tint val="75000"/>
                  </a:prstClr>
                </a:solidFill>
              </a:rPr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842128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7D362E-B73D-3548-85E3-51038AA64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3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A32C29-CF60-CD49-B31E-17B36A410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Examp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459427-D75F-0647-985C-3F0780180C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2DAC2D-563A-694E-A609-E45C65463F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Kwartler</a:t>
            </a:r>
          </a:p>
        </p:txBody>
      </p:sp>
      <p:pic>
        <p:nvPicPr>
          <p:cNvPr id="1026" name="Picture 2" descr="L2 Political">
            <a:extLst>
              <a:ext uri="{FF2B5EF4-FFF2-40B4-BE49-F238E27FC236}">
                <a16:creationId xmlns:a16="http://schemas.microsoft.com/office/drawing/2014/main" id="{E63EE376-6EEC-364F-B523-0C67C0BB37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165" y="1362543"/>
            <a:ext cx="2488887" cy="770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45C27A5-0CC7-0F4D-A60B-6B48521ACCC5}"/>
              </a:ext>
            </a:extLst>
          </p:cNvPr>
          <p:cNvSpPr txBox="1"/>
          <p:nvPr/>
        </p:nvSpPr>
        <p:spPr>
          <a:xfrm>
            <a:off x="4295020" y="1274164"/>
            <a:ext cx="466909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26000 households in 1 Congressional Distri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550+ vari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$2500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0EB3B7E-BB99-4446-A731-ABF3D259E5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612" y="3297832"/>
            <a:ext cx="3541475" cy="27323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F4C68B6-961C-E948-952B-0B1CA0B5BD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1502" y="3151261"/>
            <a:ext cx="3792929" cy="292637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79CCDF7-FA6B-6F4B-87EB-3A7B81AA8514}"/>
              </a:ext>
            </a:extLst>
          </p:cNvPr>
          <p:cNvSpPr txBox="1"/>
          <p:nvPr/>
        </p:nvSpPr>
        <p:spPr>
          <a:xfrm>
            <a:off x="2038662" y="2788171"/>
            <a:ext cx="46716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Dynamic Map with any fields==10 lines of code!</a:t>
            </a:r>
          </a:p>
        </p:txBody>
      </p:sp>
    </p:spTree>
    <p:extLst>
      <p:ext uri="{BB962C8B-B14F-4D97-AF65-F5344CB8AC3E}">
        <p14:creationId xmlns:p14="http://schemas.microsoft.com/office/powerpoint/2010/main" val="56595263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8588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B_new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5844295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 with engineered variables from </a:t>
            </a:r>
            <a:r>
              <a:rPr lang="en-US" dirty="0" err="1"/>
              <a:t>vtreat</a:t>
            </a:r>
            <a:r>
              <a:rPr lang="en-US" dirty="0"/>
              <a:t>.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07C2A5EA-3AF3-7C38-EFB1-89D3814C61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B3494CFA-85FB-9E97-464F-D2DEAF0E4D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00645CC-E8C5-88A7-15B6-6E6E53D6B2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7295" y="1247774"/>
            <a:ext cx="6324600" cy="52451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628650" y="4738255"/>
            <a:ext cx="7201939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596438" y="4380805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462751" y="2776451"/>
            <a:ext cx="583969" cy="17332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cxnSpLocks/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B08804-7A96-07D1-630F-07C0A76F4A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D20562D-E153-3B70-93D6-E2256BD234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295" y="1247774"/>
            <a:ext cx="6324600" cy="52451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The probability of seeing a value larger than the t value.</a:t>
            </a:r>
          </a:p>
          <a:p>
            <a:pPr algn="ctr"/>
            <a:r>
              <a:rPr lang="en-US" sz="1200" dirty="0"/>
              <a:t>Small p-values mean its less likely due to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406506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cxnSpLocks/>
            <a:stCxn id="16" idx="3"/>
            <a:endCxn id="13" idx="3"/>
          </p:cNvCxnSpPr>
          <p:nvPr/>
        </p:nvCxnSpPr>
        <p:spPr>
          <a:xfrm flipV="1">
            <a:off x="7614458" y="1961804"/>
            <a:ext cx="1213658" cy="2589342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B2F833-6F45-A215-F044-03DC202938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BC611C6-5B36-197F-2B4D-0E127B1DAA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295" y="1247774"/>
            <a:ext cx="6324600" cy="52451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In stats p &lt;0.05 is good but in business I have seen p&lt;0.2.</a:t>
            </a:r>
          </a:p>
          <a:p>
            <a:pPr algn="ctr"/>
            <a:r>
              <a:rPr lang="en-US" sz="1200" dirty="0"/>
              <a:t>It’s a good idea to rebuild a model without variables that do not meet the cutoff.</a:t>
            </a:r>
          </a:p>
        </p:txBody>
      </p:sp>
      <p:cxnSp>
        <p:nvCxnSpPr>
          <p:cNvPr id="9" name="Elbow Connector 8"/>
          <p:cNvCxnSpPr>
            <a:cxnSpLocks/>
            <a:stCxn id="11" idx="3"/>
            <a:endCxn id="13" idx="3"/>
          </p:cNvCxnSpPr>
          <p:nvPr/>
        </p:nvCxnSpPr>
        <p:spPr>
          <a:xfrm flipV="1">
            <a:off x="7614458" y="1853739"/>
            <a:ext cx="1213658" cy="2652004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397426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FC4630-D2A8-E0A9-940B-473562AAD8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the script 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DAE6DDC1-BDBC-BD72-7D46-E9AAECFD21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8" y="3054927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fit and time to predict are all impacted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B9C6AEA1-4BBC-C4CF-6AFE-160A518123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FEEA2A-5900-D144-E214-5F8A1E9FCF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043" y="4054253"/>
            <a:ext cx="7800784" cy="76754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9648CEA-A9A3-3771-9B12-CD9D70C5A7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5812" y="2166048"/>
            <a:ext cx="7426491" cy="730719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19333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 – 98 variables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1880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 – 29 variables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4058653" y="2285037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4202069" y="4196294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8BFFC4BB-5590-FD46-BECF-C5BE526797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F84F95-C2E8-5743-83EA-CA3C7972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BB5E43-38DF-2945-B1B2-733E74D43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view of overfitting to a probl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5F448-4515-1D4A-BA82-A3EB0EEF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7C3F-1517-C648-982A-F1A148DFF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450" y="2158492"/>
            <a:ext cx="4737100" cy="3175000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5071E9D1-2450-209D-8184-73D79E5C44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63816524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076262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F4A4EC7-AFD4-14B7-BDDE-F4D1364822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E8AA6D31-4E3C-D0D7-DE20-8B9E7D5CC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2F87193D-A297-4F76-BEF4-28CE5DA4E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6F137018-CE14-818E-A436-F98EFC431C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test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425B73B-CFD7-5115-A364-CA8BEB1023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sp>
        <p:nvSpPr>
          <p:cNvPr id="34" name="Footer Placeholder 5">
            <a:extLst>
              <a:ext uri="{FF2B5EF4-FFF2-40B4-BE49-F238E27FC236}">
                <a16:creationId xmlns:a16="http://schemas.microsoft.com/office/drawing/2014/main" id="{237D58A0-C1AE-3766-B48F-9FC7B7031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not always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B0A4C4F9-C457-915F-79F6-BDB0FA7670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3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FE41A7FC-7935-CAA4-DB4D-AB27CC0F2E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218</TotalTime>
  <Words>2753</Words>
  <Application>Microsoft Macintosh PowerPoint</Application>
  <PresentationFormat>On-screen Show (4:3)</PresentationFormat>
  <Paragraphs>585</Paragraphs>
  <Slides>53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63" baseType="lpstr">
      <vt:lpstr>Arial</vt:lpstr>
      <vt:lpstr>Calibri</vt:lpstr>
      <vt:lpstr>Calibri Light</vt:lpstr>
      <vt:lpstr>Cambria Math</vt:lpstr>
      <vt:lpstr>Consolas</vt:lpstr>
      <vt:lpstr>Franklin Gothic Book</vt:lpstr>
      <vt:lpstr>Open Sans</vt:lpstr>
      <vt:lpstr>Wingdings 2</vt:lpstr>
      <vt:lpstr>1_Office Theme</vt:lpstr>
      <vt:lpstr>think-cell Slide</vt:lpstr>
      <vt:lpstr>Regression</vt:lpstr>
      <vt:lpstr>Let’s Practice</vt:lpstr>
      <vt:lpstr>The Problem of Overfitting</vt:lpstr>
      <vt:lpstr>100% fit – not useful for new data</vt:lpstr>
      <vt:lpstr>Another view of overfitting to a problem…</vt:lpstr>
      <vt:lpstr>Minimize Overfitting - Partitioning</vt:lpstr>
      <vt:lpstr>Minimize Overfitting - Partitioning</vt:lpstr>
      <vt:lpstr>Best Practice 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What’s really going on?</vt:lpstr>
      <vt:lpstr>So what is really going on?</vt:lpstr>
      <vt:lpstr>How does truecar.com know the price is “great?”</vt:lpstr>
      <vt:lpstr>PowerPoint Presentation</vt:lpstr>
      <vt:lpstr>Welcome Dale to TrueCar’s Competitor: OldCar</vt:lpstr>
      <vt:lpstr>Let’s help Dale again. </vt:lpstr>
      <vt:lpstr>Modeling Process</vt:lpstr>
      <vt:lpstr>Variable Treatment: library(vtreat)</vt:lpstr>
      <vt:lpstr>Mean Imputation - PreProcessing</vt:lpstr>
      <vt:lpstr>Missing Flags- PreProcessing</vt:lpstr>
      <vt:lpstr>Dummy Variables - PreProcessing</vt:lpstr>
      <vt:lpstr>Vtreat Engineered CAT Variables Example</vt:lpstr>
      <vt:lpstr>Vtreat Engineered CAT Variables Example</vt:lpstr>
      <vt:lpstr>Vtreat Engineered CAT Variables Example</vt:lpstr>
      <vt:lpstr>Non-Informative Check</vt:lpstr>
      <vt:lpstr>Vtreat adjusts data in many ways.</vt:lpstr>
      <vt:lpstr>Why is Feature Engineering &amp; Enrichment Effective?</vt:lpstr>
      <vt:lpstr>Data Enrichment aids Model Performance</vt:lpstr>
      <vt:lpstr>An example of Data Enrichment</vt:lpstr>
      <vt:lpstr>Modeling with Feature Enrichment is Widespread</vt:lpstr>
      <vt:lpstr>Additional Examples</vt:lpstr>
      <vt:lpstr>Let’s practice.</vt:lpstr>
      <vt:lpstr>Regression is susceptible to multi-colinearity</vt:lpstr>
      <vt:lpstr>The Summary of the Fit</vt:lpstr>
      <vt:lpstr>The Summary of the Fit</vt:lpstr>
      <vt:lpstr>The Summary of the Fit</vt:lpstr>
      <vt:lpstr>Back to the script B</vt:lpstr>
      <vt:lpstr>Parsimonious Model</vt:lpstr>
      <vt:lpstr>Compare the two models</vt:lpstr>
      <vt:lpstr>Evaluating a Prediction Model</vt:lpstr>
      <vt:lpstr>RMSE</vt:lpstr>
      <vt:lpstr>RMSE</vt:lpstr>
      <vt:lpstr>Back to script B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Kwartler, Edward</cp:lastModifiedBy>
  <cp:revision>278</cp:revision>
  <dcterms:created xsi:type="dcterms:W3CDTF">2018-05-23T17:24:59Z</dcterms:created>
  <dcterms:modified xsi:type="dcterms:W3CDTF">2023-04-03T15:22:44Z</dcterms:modified>
</cp:coreProperties>
</file>